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942" r:id="rId2"/>
    <p:sldId id="2944" r:id="rId3"/>
    <p:sldId id="2910" r:id="rId4"/>
    <p:sldId id="2948" r:id="rId5"/>
    <p:sldId id="2935" r:id="rId6"/>
    <p:sldId id="2949" r:id="rId7"/>
    <p:sldId id="2950" r:id="rId8"/>
    <p:sldId id="2952" r:id="rId9"/>
    <p:sldId id="2936" r:id="rId10"/>
    <p:sldId id="2953" r:id="rId11"/>
    <p:sldId id="2954" r:id="rId12"/>
    <p:sldId id="2955" r:id="rId13"/>
    <p:sldId id="2957" r:id="rId14"/>
    <p:sldId id="2915" r:id="rId15"/>
    <p:sldId id="2958" r:id="rId16"/>
    <p:sldId id="2959" r:id="rId17"/>
    <p:sldId id="2960" r:id="rId18"/>
    <p:sldId id="2917" r:id="rId19"/>
    <p:sldId id="2961" r:id="rId20"/>
    <p:sldId id="2962" r:id="rId21"/>
    <p:sldId id="2963" r:id="rId22"/>
    <p:sldId id="2921" r:id="rId23"/>
    <p:sldId id="2922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0000"/>
    <a:srgbClr val="FF9900"/>
    <a:srgbClr val="D883FF"/>
    <a:srgbClr val="9437FF"/>
    <a:srgbClr val="7030A0"/>
    <a:srgbClr val="000000"/>
    <a:srgbClr val="3E494F"/>
    <a:srgbClr val="E6CEB0"/>
    <a:srgbClr val="990099"/>
    <a:srgbClr val="D6009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505" autoAdjust="0"/>
    <p:restoredTop sz="95273" autoAdjust="0"/>
  </p:normalViewPr>
  <p:slideViewPr>
    <p:cSldViewPr snapToGrid="0">
      <p:cViewPr varScale="1">
        <p:scale>
          <a:sx n="111" d="100"/>
          <a:sy n="111" d="100"/>
        </p:scale>
        <p:origin x="-756" y="-78"/>
      </p:cViewPr>
      <p:guideLst>
        <p:guide orient="horz" pos="2160"/>
        <p:guide orient="horz" pos="4122"/>
        <p:guide pos="123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pPr/>
              <a:t>10/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10/5/202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smtClean="0"/>
          </a:p>
        </p:txBody>
      </p:sp>
    </p:spTree>
    <p:extLst>
      <p:ext uri="{BB962C8B-B14F-4D97-AF65-F5344CB8AC3E}">
        <p14:creationId xmlns="" xmlns:p14="http://schemas.microsoft.com/office/powerpoint/2010/main" val="1039824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7.v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tif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16069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0080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F4BA88A6-C9F3-4FD3-B2BA-C7C93EFBCA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anchor="b"/>
          <a:lstStyle>
            <a:lvl1pPr algn="l">
              <a:defRPr sz="6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3614400035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4177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A8C71E58-08E5-4FA9-A1CB-BDECC87B58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84643703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5201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86D5A814-2D3A-46DA-8272-D412D18875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232809330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6224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D9428F93-06E2-4549-888B-86AF0F20B5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5945745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7248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0AD08186-956E-45DD-9440-01D18F4234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88022135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8272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7F446FA9-5A8B-4B48-8E5C-C452FC03F4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17898193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73062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9296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46E56B7-32CC-4EEC-B6E5-EDEDA87773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13065526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0320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474F25D1-6498-47B8-AA71-15AA8FC18C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90946718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1344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1C3C86D-33A1-460C-A8C8-3310B95B40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85361694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2368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794BF82-75F4-47AD-9721-06A638A9D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71407459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3392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F004929-056F-4162-8157-37FCFA4B36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73989855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14734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5690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62A0DD45-B9F1-4B0F-953D-6E163A66F5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259874" y="2543372"/>
            <a:ext cx="7672253" cy="1329595"/>
          </a:xfrm>
          <a:noFill/>
        </p:spPr>
        <p:txBody>
          <a:bodyPr wrap="square" anchor="t" anchorCtr="0">
            <a:spAutoFit/>
          </a:bodyPr>
          <a:lstStyle>
            <a:lvl1pPr algn="ctr">
              <a:defRPr lang="en-US" sz="4800" spc="-15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817445" y="4167947"/>
            <a:ext cx="2557110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ctr">
              <a:buNone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5867400" y="225149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6AAB47C-EB3E-DD4A-97BA-AE80BDF486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32663127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4416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19A4AF99-97E0-4866-A437-AC206BFA95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1447963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5440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89B4B143-79F7-4AEB-9947-FCC5ECB148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22641644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6464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3AB36091-6ED3-426E-BF7F-B505404938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294782967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7488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1BCF2195-262F-4353-9190-B94FEDDD89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="" xmlns:p14="http://schemas.microsoft.com/office/powerpoint/2010/main" val="3159336652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58512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480F1CE9-D5A8-4797-A9CC-81438A0484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09077942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70800" name="Слайд think-cell" r:id="rId4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B03CD6B0-3B6B-4878-92CD-91CD38E1E0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="" xmlns:a16="http://schemas.microsoft.com/office/drawing/2014/main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13039814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71824" name="Слайд think-cell" r:id="rId3" imgW="360" imgH="360" progId="">
              <p:embed/>
            </p:oleObj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="" xmlns:a16="http://schemas.microsoft.com/office/drawing/2014/main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1389433428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p:oleObj spid="_x0000_s346745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C506DC8B-DC41-41DC-BDEB-046072430D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="" xmlns:a16="http://schemas.microsoft.com/office/drawing/2014/main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="" xmlns:a16="http://schemas.microsoft.com/office/drawing/2014/main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B1B8559E-50F2-48F8-BA28-A8F1ACC473C7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672264036"/>
      </p:ext>
    </p:extLst>
  </p:cSld>
  <p:clrMapOvr>
    <a:masterClrMapping/>
  </p:clrMapOvr>
  <p:transition spd="slow">
    <p:wipe dir="r"/>
  </p:transition>
  <p:extLst mod="1">
    <p:ext uri="{DCECCB84-F9BA-43D5-87BE-67443E8EF086}">
      <p15:sldGuideLst xmlns=""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660053" name="Слайд think-cell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635045461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76117" y="1931313"/>
            <a:ext cx="4011084" cy="430887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8850" y="273051"/>
            <a:ext cx="666115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876117" y="2438401"/>
            <a:ext cx="4011084" cy="36877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484463" y="6356351"/>
            <a:ext cx="2781300" cy="365125"/>
          </a:xfrm>
          <a:prstGeom prst="rect">
            <a:avLst/>
          </a:prstGeom>
        </p:spPr>
        <p:txBody>
          <a:bodyPr/>
          <a:lstStyle/>
          <a:p>
            <a:fld id="{5433862F-6027-4ABA-97AC-B9FA2093E187}" type="datetimeFigureOut">
              <a:rPr lang="ru-RU" smtClean="0"/>
              <a:pPr/>
              <a:t>05.10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78887" y="6356351"/>
            <a:ext cx="37973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91038" y="6356351"/>
            <a:ext cx="749300" cy="365125"/>
          </a:xfrm>
          <a:prstGeom prst="rect">
            <a:avLst/>
          </a:prstGeom>
        </p:spPr>
        <p:txBody>
          <a:bodyPr/>
          <a:lstStyle/>
          <a:p>
            <a:fld id="{C5EF930B-1791-432F-B359-12A30BD4273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74459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4667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E1288502-C50A-44FF-8ADA-19B37ABA9D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="" xmlns:a16="http://schemas.microsoft.com/office/drawing/2014/main" id="{FBFFCCEB-5B40-4B75-A648-B6AFDBA7AE9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99312825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904674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F4BA88A6-C9F3-4FD3-B2BA-C7C93EFBCA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4020970825"/>
      </p:ext>
    </p:extLst>
  </p:cSld>
  <p:clrMapOvr>
    <a:masterClrMapping/>
  </p:clrMapOvr>
  <p:transition spd="slow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6884896" y="6250165"/>
            <a:ext cx="504892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ED76DA-B47B-42F3-95C2-ED0F524873D5}" type="datetimeFigureOut">
              <a:rPr lang="ru-RU"/>
              <a:pPr>
                <a:defRPr/>
              </a:pPr>
              <a:t>05.10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8185" y="6250165"/>
            <a:ext cx="5048921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21451" y="6250164"/>
            <a:ext cx="1549101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DC2504-A292-461D-936D-27566AD1F4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77960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6940" name="Слайд think-cell" r:id="rId4" imgW="360" imgH="360" progId="">
              <p:embed/>
            </p:oleObj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4180820529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2851" name="Слайд think-cell" r:id="rId4" imgW="360" imgH="360" progId="">
              <p:embed/>
            </p:oleObj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67006823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825866" name="Слайд think-cell" r:id="rId4" imgW="360" imgH="360" progId="">
              <p:embed/>
            </p:oleObj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713531734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1105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ABD19D0F-291A-4D83-BFD3-E92F280DFB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="" xmlns:a16="http://schemas.microsoft.com/office/drawing/2014/main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="" xmlns:a16="http://schemas.microsoft.com/office/drawing/2014/main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7782886E-3117-43B2-B66A-6FCE0AA25F49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28161786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2128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1440D88E-C2D3-40F2-86E8-2549CD61C6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10246283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3152" name="Слайд think-cell" r:id="rId4" imgW="360" imgH="3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D02E4E3F-74A9-452F-9CA7-4ACAF83DBC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86878535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228" name="Слайд think-cell" r:id="rId35" imgW="360" imgH="360" progId="">
              <p:embed/>
            </p:oleObj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4526BEB8-B332-4D0F-B3E2-D415BBE7C57E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Times New Roman" panose="02020603050405020304" pitchFamily="18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Times New Roman" panose="02020603050405020304" pitchFamily="18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782" r:id="rId4"/>
    <p:sldLayoutId id="2147483781" r:id="rId5"/>
    <p:sldLayoutId id="2147483812" r:id="rId6"/>
    <p:sldLayoutId id="2147483654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7" r:id="rId13"/>
    <p:sldLayoutId id="2147483668" r:id="rId14"/>
    <p:sldLayoutId id="2147483669" r:id="rId15"/>
    <p:sldLayoutId id="214748368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93" r:id="rId25"/>
    <p:sldLayoutId id="2147483657" r:id="rId26"/>
    <p:sldLayoutId id="2147483795" r:id="rId27"/>
    <p:sldLayoutId id="2147483808" r:id="rId28"/>
    <p:sldLayoutId id="2147483814" r:id="rId29"/>
    <p:sldLayoutId id="2147483815" r:id="rId30"/>
    <p:sldLayoutId id="2147483816" r:id="rId31"/>
  </p:sldLayoutIdLst>
  <p:transition spd="slow">
    <p:wipe dir="r"/>
  </p:transition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Trebuchet MS" panose="020B0603020202020204" pitchFamily="34" charset="0"/>
          <a:ea typeface="Trebuchet MS" panose="020B0603020202020204" pitchFamily="34" charset="0"/>
          <a:cs typeface="Trebuchet MS" panose="020B0603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9.jpe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1872AD47-F7F9-4364-BC14-E58AE819B55D}"/>
              </a:ext>
            </a:extLst>
          </p:cNvPr>
          <p:cNvSpPr txBox="1">
            <a:spLocks/>
          </p:cNvSpPr>
          <p:nvPr/>
        </p:nvSpPr>
        <p:spPr>
          <a:xfrm>
            <a:off x="468375" y="775006"/>
            <a:ext cx="5332061" cy="221599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1" kern="0" spc="-151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порт проекта</a:t>
            </a:r>
            <a:b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</a:p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ынка социальных услуг.</a:t>
            </a:r>
          </a:p>
          <a:p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ный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нтр для НКО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64422" y="3572110"/>
            <a:ext cx="655201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2222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задач, поставленных </a:t>
            </a:r>
            <a:r>
              <a:rPr lang="ru-RU" dirty="0">
                <a:solidFill>
                  <a:srgbClr val="2222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идентом Российской Федерации Владимиром </a:t>
            </a:r>
            <a:r>
              <a:rPr lang="ru-RU" dirty="0" smtClean="0">
                <a:solidFill>
                  <a:srgbClr val="2222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тиным в </a:t>
            </a:r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сланиях Федеральному 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бранию 2015 и 2016 </a:t>
            </a:r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дов,</a:t>
            </a:r>
            <a:endParaRPr lang="ru-RU" b="1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 </a:t>
            </a:r>
            <a:r>
              <a:rPr lang="ru-RU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риентированным НКО, осуществляющим деятельность в социальной сфере, предполагается предоставить доступ к бюджетным средствам, выделяемым на предоставление </a:t>
            </a:r>
            <a:r>
              <a:rPr lang="ru-RU" b="1" i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цуслуг</a:t>
            </a:r>
            <a:r>
              <a:rPr lang="ru-RU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населению (в размере до 10% средств, предусмотренных на реализацию соответствующих региональных и муниципальных программ</a:t>
            </a:r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531" y="545407"/>
            <a:ext cx="4970818" cy="376797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140" y="4433457"/>
            <a:ext cx="4916209" cy="230908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463063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pic>
        <p:nvPicPr>
          <p:cNvPr id="1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309" y="388626"/>
            <a:ext cx="11392709" cy="1125436"/>
          </a:xfrm>
        </p:spPr>
        <p:txBody>
          <a:bodyPr/>
          <a:lstStyle/>
          <a:p>
            <a:r>
              <a:rPr lang="ru-RU" sz="3600" dirty="0" smtClean="0"/>
              <a:t>     Суть проекта</a:t>
            </a:r>
            <a:endParaRPr lang="ru-RU" sz="1800" b="1" dirty="0">
              <a:solidFill>
                <a:srgbClr val="0C3F8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</a:endParaRPr>
          </a:p>
          <a:p>
            <a:endParaRPr lang="ru-RU" sz="3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334" y="388626"/>
            <a:ext cx="6727937" cy="6050671"/>
          </a:xfrm>
          <a:prstGeom prst="rect">
            <a:avLst/>
          </a:prstGeom>
        </p:spPr>
      </p:pic>
      <p:pic>
        <p:nvPicPr>
          <p:cNvPr id="8" name="Picture 7" descr="C:\Users\Aspire\Documents\схема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24" y="2855739"/>
            <a:ext cx="5063310" cy="373901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72602" y="1292394"/>
            <a:ext cx="48535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истема </a:t>
            </a:r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повышения квалификации       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(под требования проф. стандартов) и           </a:t>
            </a:r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Центр оценки квалификации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по проф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.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тандартам в сфере социального обслуживания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95955587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3491" y="394205"/>
            <a:ext cx="6345382" cy="632819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85" y="255664"/>
            <a:ext cx="5612406" cy="64806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32886216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pic>
        <p:nvPicPr>
          <p:cNvPr id="1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309" y="388626"/>
            <a:ext cx="11392709" cy="1125436"/>
          </a:xfrm>
        </p:spPr>
        <p:txBody>
          <a:bodyPr/>
          <a:lstStyle/>
          <a:p>
            <a:r>
              <a:rPr lang="ru-RU" sz="3600" dirty="0" smtClean="0"/>
              <a:t>     Суть проекта</a:t>
            </a:r>
            <a:endParaRPr lang="ru-RU" sz="1800" b="1" dirty="0">
              <a:solidFill>
                <a:srgbClr val="0C3F8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</a:endParaRPr>
          </a:p>
          <a:p>
            <a:endParaRPr lang="ru-RU" sz="36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618" y="1242715"/>
            <a:ext cx="5901491" cy="4400704"/>
          </a:xfrm>
          <a:prstGeom prst="rect">
            <a:avLst/>
          </a:prstGeom>
        </p:spPr>
      </p:pic>
      <p:pic>
        <p:nvPicPr>
          <p:cNvPr id="9" name="Picture 2" descr="C:\Users\Aspire\Documents\схема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109" y="1811332"/>
            <a:ext cx="6059055" cy="495718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6027361" y="913897"/>
            <a:ext cx="581736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Ведение добровольного Реестра НКО –         </a:t>
            </a:r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«стандарта публичности» НКО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, позволяющего обеспечить открытый общественный мониторинг их деятельности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86727667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31824"/>
            <a:ext cx="11252138" cy="3323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На какие сегменты рынка ориентирован продукт/услуга?  (название, доля, динамика, тенденции развития, драйверы роста, потенциальные потребители)  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r>
              <a:rPr lang="ru-RU" sz="1200" b="0" kern="1200" spc="0" dirty="0">
                <a:solidFill>
                  <a:schemeClr val="dk1"/>
                </a:solidFill>
              </a:rPr>
              <a:t>Обоснование спроса на продукцию, с описанием целевых потребителей (клиентов) и ключевых факторов принятия ими решения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330423"/>
            <a:ext cx="11252200" cy="5079614"/>
          </a:xfrm>
        </p:spPr>
        <p:txBody>
          <a:bodyPr/>
          <a:lstStyle/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ынок социальных 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слуг. </a:t>
            </a:r>
          </a:p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щее количество оказанных социальных услуг в Российской Федерации ежегодно 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ляет более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80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800 000 000 единиц.</a:t>
            </a:r>
          </a:p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, нуждающихся в социальной помощи и имеющих право на получение социального обслуживания </a:t>
            </a:r>
            <a:r>
              <a:rPr lang="ru-RU" sz="1800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к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19 </a:t>
            </a:r>
            <a:r>
              <a:rPr lang="ru-RU" sz="1800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лн.человек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Более 1 300 000 человек в год </a:t>
            </a:r>
            <a:r>
              <a:rPr lang="ru-RU" alt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лучают социальные услуги у НКО.</a:t>
            </a:r>
            <a:endParaRPr lang="ru-RU" sz="18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олько в Свердловской области действует 190 поставщиков социальных услуг (из них 32 НКО). Как показал мониторинг, проведенный Минтрудом, в реестры 14 регионов включены более 100 поставщиков социальных услуг. Так, в Республике Башкортостан в реестр вошли 211 поставщиков, в Самарской области – 203, Московской – 182.</a:t>
            </a:r>
          </a:p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олее 1 000 НКО в России, которым переданы на исполнение социальные услуги, предоставляемые за счет бюджета.</a:t>
            </a:r>
          </a:p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олее 11 млрд. руб. в год передается НКО – поставщикам социальных услуг.</a:t>
            </a:r>
          </a:p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и социальных услуг группируются по регионам вокруг органов государственной власти, уполномоченных в сфере социального обслуживания, поскольку в каждом субъекте формируется уникальная правовая и организационная среда – свои перечень поставщиков социальных услуг и перечень социальных услуг, свои региональные стандарты и регламенты доступа к бюджетным средствам.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498598"/>
          </a:xfrm>
        </p:spPr>
        <p:txBody>
          <a:bodyPr/>
          <a:lstStyle/>
          <a:p>
            <a:r>
              <a:rPr lang="ru-RU" sz="3600" dirty="0"/>
              <a:t>Анализ рынка, целевые сегменты</a:t>
            </a:r>
          </a:p>
        </p:txBody>
      </p:sp>
    </p:spTree>
    <p:extLst>
      <p:ext uri="{BB962C8B-B14F-4D97-AF65-F5344CB8AC3E}">
        <p14:creationId xmlns="" xmlns:p14="http://schemas.microsoft.com/office/powerpoint/2010/main" val="2813473055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94891"/>
            <a:ext cx="11513716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 smtClean="0"/>
              <a:t>                     Какие </a:t>
            </a:r>
            <a:r>
              <a:rPr lang="ru-RU" sz="1200" b="0" spc="0" dirty="0"/>
              <a:t>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/>
            </a:br>
            <a:r>
              <a:rPr lang="ru-RU" sz="1200" b="0" spc="0" dirty="0" smtClean="0"/>
              <a:t>                  Краткосрочные </a:t>
            </a:r>
            <a:r>
              <a:rPr lang="ru-RU" sz="1200" b="0" spc="0" dirty="0"/>
              <a:t>и долгосрочные ключевые результаты проекта, описание их взаимосвязи  результатов. Структурная декомпозиция результатов</a:t>
            </a:r>
            <a:r>
              <a:rPr lang="ru-RU" sz="1200" b="0" spc="0" dirty="0" smtClean="0"/>
              <a:t>.  </a:t>
            </a:r>
            <a:endParaRPr lang="ru-RU" sz="1200" b="0" spc="0" dirty="0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348889"/>
            <a:ext cx="11252200" cy="5393656"/>
          </a:xfrm>
        </p:spPr>
        <p:txBody>
          <a:bodyPr/>
          <a:lstStyle/>
          <a:p>
            <a:pPr marL="0" indent="0">
              <a:buNone/>
            </a:pP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 рамках проекта создается комплексный сервис для НКО – поставщиков социальных 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услуг, позволяющий компенсировать слабые стороны НКО, как субъектов рынка.</a:t>
            </a:r>
          </a:p>
          <a:p>
            <a:pPr marL="0" indent="0" fontAlgn="base">
              <a:buNone/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иление позиций негосударственных НКО на рынке социальных услуг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ы связываем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возможностью дальнейшей трансформации системы социального обслуживания от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онной социальной эффективности и процессного образа системы, «оказывающей невероятный объем услуг» к «формированию человек-ориентированной (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uman-centere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комфортной среды, позволяющей компенсировать имеющиеся ограничения и развивать персональные состояния человека, оптимизируя их»</a:t>
            </a:r>
            <a:endParaRPr lang="ru-RU" sz="180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pPr marL="0" indent="0" fontAlgn="base">
              <a:buNone/>
            </a:pP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Такое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зменение опирается на:</a:t>
            </a:r>
          </a:p>
          <a:p>
            <a:pPr marL="0" indent="0" fontAlgn="base">
              <a:buNone/>
            </a:pPr>
            <a:r>
              <a:rPr lang="ru-RU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1.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Становление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конкуренции на рынке социальных услуг, совместное действие государственных и негосударственных некоммерческих структур, субъектов предпринимательской деятельности, развитие ГЧП в социальной сфере, государственное управление через стандарты и контроль;</a:t>
            </a:r>
          </a:p>
          <a:p>
            <a:pPr marL="0" indent="0" fontAlgn="base">
              <a:buNone/>
            </a:pPr>
            <a:r>
              <a:rPr lang="ru-RU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2.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Развитие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нформационного общества и цифровизацию технологий. Это и аппаратный мониторинг состояния здоровья, и адаптированные сервисы доступа к благам, и оптимизация социальных ролей на базе информационных технологий, новое поколение решений и стандартов предоставления социальных услуг;</a:t>
            </a:r>
          </a:p>
          <a:p>
            <a:pPr marL="0" indent="0" fontAlgn="base">
              <a:buNone/>
            </a:pPr>
            <a:r>
              <a:rPr lang="ru-RU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3.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Формирование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аучной и методической базы социальной работы, системы развития компетенций социальных работников;</a:t>
            </a:r>
          </a:p>
          <a:p>
            <a:pPr marL="0" indent="0" fontAlgn="base">
              <a:buNone/>
            </a:pPr>
            <a:r>
              <a:rPr lang="ru-RU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4.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Развитие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общества профессионалов, поставщиков и получателей услуг, добровольцев с единой ценностной системой.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553998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600" dirty="0" smtClean="0"/>
              <a:t>            Ключевые </a:t>
            </a:r>
            <a:r>
              <a:rPr lang="ru-RU" sz="3600" dirty="0"/>
              <a:t>результаты проекта </a:t>
            </a:r>
          </a:p>
        </p:txBody>
      </p:sp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992304" cy="95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163270033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94891"/>
            <a:ext cx="11252138" cy="369332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В чем наше уникальное предложение? Какие есть аналогичные решения? В чем их сильные и слабые стороны? </a:t>
            </a:r>
            <a:br>
              <a:rPr lang="ru-RU" sz="1200" b="0" spc="0" dirty="0"/>
            </a:br>
            <a:r>
              <a:rPr lang="ru-RU" sz="1200" b="0" spc="0" dirty="0"/>
              <a:t>Почему/чем ваше решение лучше, чем решения конкурент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>
                <a:solidFill>
                  <a:srgbClr val="FF0000"/>
                </a:solidFill>
              </a:rPr>
              <a:t>             </a:t>
            </a:r>
          </a:p>
          <a:p>
            <a:pPr marL="0" indent="0">
              <a:buNone/>
            </a:pPr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</a:t>
            </a:r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Аналогичные комплексные решения отсутствуют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96293"/>
            <a:ext cx="11252138" cy="498598"/>
          </a:xfrm>
        </p:spPr>
        <p:txBody>
          <a:bodyPr/>
          <a:lstStyle/>
          <a:p>
            <a:r>
              <a:rPr lang="ru-RU" sz="3600" dirty="0"/>
              <a:t>Новизна идеи проекта</a:t>
            </a:r>
          </a:p>
        </p:txBody>
      </p:sp>
      <p:pic>
        <p:nvPicPr>
          <p:cNvPr id="6" name="Picture 2" descr="C:\Documents and Settings\akushnikov\Local Settings\Temporary Internet Files\Content.IE5\K5U3K1UN\MCj04338830000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340" y="1662821"/>
            <a:ext cx="10795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439847687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31338"/>
            <a:ext cx="11252138" cy="332399"/>
          </a:xfrm>
        </p:spPr>
        <p:txBody>
          <a:bodyPr/>
          <a:lstStyle/>
          <a:p>
            <a:r>
              <a:rPr lang="ru-RU" sz="1200" b="0" spc="0" dirty="0"/>
              <a:t>Идея </a:t>
            </a:r>
            <a:r>
              <a:rPr lang="en-US" sz="1200" b="0" spc="0" dirty="0"/>
              <a:t>⟶ </a:t>
            </a:r>
            <a:r>
              <a:rPr lang="ru-RU" sz="1200" b="0" spc="0" dirty="0"/>
              <a:t>Наличие прототипа/макета/опытного образца</a:t>
            </a:r>
            <a:r>
              <a:rPr lang="en-US" sz="1200" b="0" spc="0" dirty="0"/>
              <a:t> ⟶ </a:t>
            </a:r>
            <a:r>
              <a:rPr lang="ru-RU" sz="1200" b="0" spc="0" dirty="0"/>
              <a:t>Наличие экспертизы</a:t>
            </a:r>
            <a:r>
              <a:rPr lang="en-US" sz="1200" b="0" spc="0" dirty="0"/>
              <a:t>/</a:t>
            </a:r>
            <a:r>
              <a:rPr lang="ru-RU" sz="1200" b="0" spc="0" dirty="0"/>
              <a:t>поддержки</a:t>
            </a:r>
            <a:r>
              <a:rPr lang="en-US" sz="1200" b="0" spc="0" dirty="0"/>
              <a:t>/</a:t>
            </a:r>
            <a:r>
              <a:rPr lang="ru-RU" sz="1200" b="0" spc="0" dirty="0"/>
              <a:t>договоренностей</a:t>
            </a:r>
            <a:r>
              <a:rPr lang="en-US" sz="1200" b="0" spc="0" dirty="0"/>
              <a:t>/</a:t>
            </a:r>
            <a:r>
              <a:rPr lang="ru-RU" sz="1200" b="0" spc="0" dirty="0"/>
              <a:t>ресурсной базы</a:t>
            </a:r>
            <a:r>
              <a:rPr lang="en-US" sz="1200" b="0" spc="0" dirty="0"/>
              <a:t> ⟶ </a:t>
            </a:r>
            <a:br>
              <a:rPr lang="en-US" sz="1200" b="0" spc="0" dirty="0"/>
            </a:br>
            <a:r>
              <a:rPr lang="ru-RU" sz="1200" b="0" spc="0" dirty="0"/>
              <a:t>Реализованный пилот или локальное внедрение</a:t>
            </a:r>
            <a:r>
              <a:rPr lang="en-US" sz="1200" b="0" spc="0" dirty="0"/>
              <a:t> ⟶ </a:t>
            </a:r>
            <a:r>
              <a:rPr lang="ru-RU" sz="1200" b="0" spc="0" dirty="0"/>
              <a:t>Готовность передачи в производство или тиражирование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462114"/>
            <a:ext cx="11252200" cy="3525519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Проект развернут в Свердловской области;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) Наличие организации – оператора Ресурсного центра со сформированным штатом и готовностью к масштабированию; 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) Создана площадка проекта в сети Интернет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ice-nko.ru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роект готов к передаче </a:t>
            </a:r>
            <a:r>
              <a:rPr lang="ru-RU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 производство или тиражирование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02099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3600" dirty="0"/>
              <a:t>Текущая стадия зрелости </a:t>
            </a:r>
          </a:p>
        </p:txBody>
      </p:sp>
    </p:spTree>
    <p:extLst>
      <p:ext uri="{BB962C8B-B14F-4D97-AF65-F5344CB8AC3E}">
        <p14:creationId xmlns="" xmlns:p14="http://schemas.microsoft.com/office/powerpoint/2010/main" val="1286306627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08724"/>
            <a:ext cx="11252138" cy="304699"/>
          </a:xfrm>
        </p:spPr>
        <p:txBody>
          <a:bodyPr/>
          <a:lstStyle/>
          <a:p>
            <a:r>
              <a:rPr lang="ru-RU" sz="1100" b="0" spc="0" dirty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</a:r>
            <a:r>
              <a:rPr lang="ru-RU" sz="1100" b="0" spc="0" dirty="0" err="1"/>
              <a:t>стейкхолдеры</a:t>
            </a:r>
            <a:r>
              <a:rPr lang="ru-RU" sz="1100" b="0" spc="0" dirty="0"/>
              <a:t>)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562099"/>
            <a:ext cx="11585080" cy="4792981"/>
          </a:xfrm>
        </p:spPr>
        <p:txBody>
          <a:bodyPr/>
          <a:lstStyle/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Заказчик –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ссоциация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 ориентированных некоммерческих организаций Свердловской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ласти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) Функциональный заказчик – экспертный совет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ссоциации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 ориентированных некоммерческих организаций Свердловской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ласти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) Члены команды – специалисты Ресурсного центра для НКО – поставщиков социальных услуг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) Приемщик результата проекта –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ссоциация социально ориентированных некоммерческих организаций Свердловской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ласти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) Держатель бюджета – Ассоциация социально ориентированных некоммерческих организаций Свердловской области 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7948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Матрица ролей и ключевых участников </a:t>
            </a:r>
          </a:p>
        </p:txBody>
      </p:sp>
    </p:spTree>
    <p:extLst>
      <p:ext uri="{BB962C8B-B14F-4D97-AF65-F5344CB8AC3E}">
        <p14:creationId xmlns="" xmlns:p14="http://schemas.microsoft.com/office/powerpoint/2010/main" val="2419137754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08724"/>
            <a:ext cx="11252138" cy="657767"/>
          </a:xfrm>
        </p:spPr>
        <p:txBody>
          <a:bodyPr/>
          <a:lstStyle/>
          <a:p>
            <a:pPr algn="ctr"/>
            <a:r>
              <a:rPr lang="ru-RU" sz="1100" b="0" spc="0" dirty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</a:r>
            <a:r>
              <a:rPr lang="ru-RU" sz="1100" b="0" spc="0" dirty="0" err="1"/>
              <a:t>стейкхолдеры</a:t>
            </a:r>
            <a:r>
              <a:rPr lang="ru-RU" sz="1100" b="0" spc="0" dirty="0"/>
              <a:t>)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913" y="1562099"/>
            <a:ext cx="7922796" cy="5140626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Куратор проекта: </a:t>
            </a:r>
          </a:p>
          <a:p>
            <a:pPr marL="0" indent="0">
              <a:buNone/>
            </a:pP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икифоров Алексей Иванович, к.м.н.</a:t>
            </a:r>
          </a:p>
          <a:p>
            <a:pPr marL="0" indent="0">
              <a:buNone/>
            </a:pP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редседатель Правления </a:t>
            </a:r>
            <a:r>
              <a:rPr lang="ru-RU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ссоциации социально ориентированных некоммерческих организаций Свердловской области</a:t>
            </a: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Руководитель и администратор проекта: </a:t>
            </a:r>
          </a:p>
          <a:p>
            <a:pPr marL="0" indent="0">
              <a:buNone/>
            </a:pP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Глазкова Светлана Михайловна </a:t>
            </a:r>
          </a:p>
          <a:p>
            <a:pPr marL="0" indent="0">
              <a:buNone/>
            </a:pPr>
            <a:r>
              <a:rPr lang="ru-RU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</a:t>
            </a: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полнительный директор Ассоциации </a:t>
            </a:r>
            <a:r>
              <a:rPr lang="ru-RU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 ориентированных некоммерческих организаций Свердловской области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79485"/>
            <a:ext cx="11252138" cy="729239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3600" dirty="0"/>
              <a:t>Матрица ролей и ключевых участников </a:t>
            </a:r>
          </a:p>
        </p:txBody>
      </p:sp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992304" cy="95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3126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20592" y="1562099"/>
            <a:ext cx="1785913" cy="256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3126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720592" y="4221818"/>
            <a:ext cx="1785913" cy="237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0"/>
            <a:ext cx="992304" cy="95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111730614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52599"/>
            <a:ext cx="11252138" cy="166199"/>
          </a:xfrm>
        </p:spPr>
        <p:txBody>
          <a:bodyPr/>
          <a:lstStyle/>
          <a:p>
            <a:r>
              <a:rPr lang="ru-RU" sz="1200" b="0" spc="0" dirty="0"/>
              <a:t>Основные этапы проекта, контрольные точки, ведущие к достижению промежуточных и конечных результат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6711" y="1017175"/>
            <a:ext cx="8971180" cy="4068763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этап: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есурсного центра -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регистрация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ссоциации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 ориентированных некоммерческих организаций Свердловской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ласти, подбор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команды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(выполнено);</a:t>
            </a:r>
          </a:p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 этап: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редоставление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услуг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ервым НКО,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разработка,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пробация механизмов (выполнено)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20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 этап: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редоставление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услуг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КО – поставщикам социальных услуг, коммерческим организациям,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щественным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ъединениям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 др.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(постоянно)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 этап: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комплекса средств автоматизации социального обслуживания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К СОН.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ОН (выполнено);</a:t>
            </a:r>
          </a:p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5 этап: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звертывание </a:t>
            </a:r>
            <a:r>
              <a:rPr lang="ru-RU" sz="2000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екта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«Непрерывное повышение квалификации в системе социального обслуживания» (направления Система повышения квалификации и Центр оценки квалификации по проф. стандартам в сфере социального обслуживания) (1 кв. 2021 г.);</a:t>
            </a:r>
          </a:p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6 этап: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движение Ресурсного центра, участие в федеральных инициативах. 2020 год –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Ассоциация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 ориентированных некоммерческих организаций Свердловской области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отобрана как региональный оператор 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щероссийской акции #</a:t>
            </a:r>
            <a:r>
              <a:rPr lang="ru-RU" sz="2000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МыВместе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7 этап: </a:t>
            </a:r>
            <a:r>
              <a:rPr lang="ru-RU" sz="20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иражирование проекта</a:t>
            </a:r>
            <a:endParaRPr lang="ru-RU" sz="20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23360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План реализации проект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140485" y="4113808"/>
            <a:ext cx="2752716" cy="2531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C:\Users\sergey\Downloads\Ресурсный центр «ОФИС НКО» _ Портал Ассоциации социально ориентированных некоммерческих организации Свердловской области_files\top-logo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366" y="327056"/>
            <a:ext cx="1918147" cy="21603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1"/>
          <p:cNvSpPr>
            <a:spLocks noChangeArrowheads="1"/>
          </p:cNvSpPr>
          <p:nvPr/>
        </p:nvSpPr>
        <p:spPr bwMode="auto">
          <a:xfrm>
            <a:off x="8675340" y="2479036"/>
            <a:ext cx="31432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ru-RU" altLang="ru-RU" u="sng" dirty="0">
                <a:solidFill>
                  <a:srgbClr val="0070C0"/>
                </a:solidFill>
                <a:latin typeface="Book Antiqua" pitchFamily="18" charset="0"/>
              </a:rPr>
              <a:t>                 </a:t>
            </a:r>
            <a:r>
              <a:rPr lang="en-US" altLang="ru-RU" u="sng" dirty="0">
                <a:solidFill>
                  <a:srgbClr val="0070C0"/>
                </a:solidFill>
                <a:latin typeface="Book Antiqua" pitchFamily="18" charset="0"/>
              </a:rPr>
              <a:t>www.office-nko.ru</a:t>
            </a:r>
            <a:endParaRPr lang="ru-RU" altLang="ru-RU" u="sng" dirty="0">
              <a:solidFill>
                <a:srgbClr val="0070C0"/>
              </a:solidFill>
              <a:latin typeface="Book Antiqua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31209261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ую проблему решает проект ? В чем ее актуальность? Каков масштаб проблемы?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/>
              <a:t>Проблема </a:t>
            </a:r>
          </a:p>
        </p:txBody>
      </p:sp>
      <p:sp>
        <p:nvSpPr>
          <p:cNvPr id="7" name="Стрелка вправо 61"/>
          <p:cNvSpPr>
            <a:spLocks noChangeArrowheads="1"/>
          </p:cNvSpPr>
          <p:nvPr/>
        </p:nvSpPr>
        <p:spPr bwMode="auto">
          <a:xfrm rot="16200000" flipH="1">
            <a:off x="2578226" y="2772270"/>
            <a:ext cx="435903" cy="503237"/>
          </a:xfrm>
          <a:prstGeom prst="rightArrow">
            <a:avLst>
              <a:gd name="adj1" fmla="val 50000"/>
              <a:gd name="adj2" fmla="val 20861"/>
            </a:avLst>
          </a:prstGeom>
          <a:solidFill>
            <a:srgbClr val="FF4549"/>
          </a:solidFill>
          <a:ln w="0" algn="ctr">
            <a:solidFill>
              <a:schemeClr val="hlink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ru-RU">
              <a:solidFill>
                <a:schemeClr val="dk1"/>
              </a:solidFill>
            </a:endParaRPr>
          </a:p>
        </p:txBody>
      </p:sp>
      <p:sp>
        <p:nvSpPr>
          <p:cNvPr id="8" name="Содержимое 1"/>
          <p:cNvSpPr>
            <a:spLocks/>
          </p:cNvSpPr>
          <p:nvPr/>
        </p:nvSpPr>
        <p:spPr bwMode="auto">
          <a:xfrm>
            <a:off x="326778" y="1099682"/>
            <a:ext cx="2847868" cy="1371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defRPr/>
            </a:pPr>
            <a:endParaRPr lang="ru-RU" sz="600" b="1" dirty="0">
              <a:latin typeface="Lucida Sans Unicode" pitchFamily="34" charset="0"/>
            </a:endParaRPr>
          </a:p>
          <a:p>
            <a:pPr marL="85725">
              <a:defRPr/>
            </a:pPr>
            <a:r>
              <a:rPr lang="ru-RU" sz="20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КО – поставщики </a:t>
            </a:r>
            <a:r>
              <a:rPr lang="ru-RU" sz="2000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ых </a:t>
            </a:r>
            <a:r>
              <a:rPr lang="ru-RU" sz="2000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услуг.</a:t>
            </a:r>
          </a:p>
          <a:p>
            <a:pPr marL="85725">
              <a:defRPr/>
            </a:pPr>
            <a:r>
              <a:rPr lang="ru-RU" sz="2000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лабые стороны</a:t>
            </a:r>
            <a:endParaRPr lang="ru-RU" sz="2700" dirty="0">
              <a:latin typeface="Lucida Sans Unicode" pitchFamily="34" charset="0"/>
            </a:endParaRPr>
          </a:p>
        </p:txBody>
      </p:sp>
      <p:sp>
        <p:nvSpPr>
          <p:cNvPr id="13" name="Скругленный прямоугольник 4"/>
          <p:cNvSpPr/>
          <p:nvPr/>
        </p:nvSpPr>
        <p:spPr>
          <a:xfrm>
            <a:off x="4830618" y="1120160"/>
            <a:ext cx="2453267" cy="292266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alt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едостаточный </a:t>
            </a:r>
            <a:r>
              <a:rPr lang="ru-RU" altLang="ru-RU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ческий и методический </a:t>
            </a:r>
            <a:r>
              <a:rPr lang="ru-RU" altLang="ru-RU" sz="2000" b="1" dirty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тенциал</a:t>
            </a:r>
            <a:endParaRPr lang="ru-RU" sz="2000" b="1" dirty="0">
              <a:solidFill>
                <a:srgbClr val="9437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2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4"/>
          <p:cNvSpPr/>
          <p:nvPr/>
        </p:nvSpPr>
        <p:spPr>
          <a:xfrm>
            <a:off x="4830617" y="4329666"/>
            <a:ext cx="2453267" cy="205919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altLang="ru-RU" sz="2000" b="1" dirty="0" smtClean="0">
              <a:solidFill>
                <a:srgbClr val="9437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граниченность </a:t>
            </a:r>
            <a:r>
              <a:rPr lang="ru-RU" altLang="ru-RU" sz="2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ов</a:t>
            </a:r>
            <a:endParaRPr lang="ru-RU" sz="2000" b="1" dirty="0">
              <a:solidFill>
                <a:srgbClr val="9437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2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4"/>
          <p:cNvSpPr/>
          <p:nvPr/>
        </p:nvSpPr>
        <p:spPr>
          <a:xfrm>
            <a:off x="535709" y="3411168"/>
            <a:ext cx="4085689" cy="205919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alt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азобщенность </a:t>
            </a:r>
            <a:r>
              <a:rPr lang="ru-RU" altLang="ru-RU" sz="2000" b="1" dirty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КО, </a:t>
            </a:r>
            <a:r>
              <a:rPr lang="ru-RU" altLang="ru-RU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механизмов выработки и внедрения оптимальных подходов в организации социального обслуживания</a:t>
            </a:r>
            <a:endParaRPr lang="ru-RU" sz="2000" b="1" dirty="0"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Picture 2" descr="C:\Users\maksimova\Desktop\Видео+фото\3D\Fotolia_9747350_Subscription_XL(1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2792" y="1624640"/>
            <a:ext cx="1767387" cy="9962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Стрелка вправо 61"/>
          <p:cNvSpPr>
            <a:spLocks noChangeArrowheads="1"/>
          </p:cNvSpPr>
          <p:nvPr/>
        </p:nvSpPr>
        <p:spPr bwMode="auto">
          <a:xfrm rot="10800000" flipH="1">
            <a:off x="4251471" y="1833934"/>
            <a:ext cx="435903" cy="503237"/>
          </a:xfrm>
          <a:prstGeom prst="rightArrow">
            <a:avLst>
              <a:gd name="adj1" fmla="val 50000"/>
              <a:gd name="adj2" fmla="val 20861"/>
            </a:avLst>
          </a:prstGeom>
          <a:solidFill>
            <a:srgbClr val="FF4549"/>
          </a:solidFill>
          <a:ln w="0" algn="ctr">
            <a:solidFill>
              <a:schemeClr val="hlink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ru-RU">
              <a:solidFill>
                <a:schemeClr val="dk1"/>
              </a:solidFill>
            </a:endParaRPr>
          </a:p>
        </p:txBody>
      </p:sp>
      <p:sp>
        <p:nvSpPr>
          <p:cNvPr id="18" name="Стрелка вправо 61"/>
          <p:cNvSpPr>
            <a:spLocks noChangeArrowheads="1"/>
          </p:cNvSpPr>
          <p:nvPr/>
        </p:nvSpPr>
        <p:spPr bwMode="auto">
          <a:xfrm rot="13207222" flipH="1">
            <a:off x="3703021" y="2611376"/>
            <a:ext cx="435903" cy="503237"/>
          </a:xfrm>
          <a:prstGeom prst="rightArrow">
            <a:avLst>
              <a:gd name="adj1" fmla="val 50000"/>
              <a:gd name="adj2" fmla="val 20861"/>
            </a:avLst>
          </a:prstGeom>
          <a:solidFill>
            <a:srgbClr val="FF4549"/>
          </a:solidFill>
          <a:ln w="0" algn="ctr">
            <a:solidFill>
              <a:schemeClr val="hlink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ru-RU">
              <a:solidFill>
                <a:schemeClr val="dk1"/>
              </a:solidFill>
            </a:endParaRPr>
          </a:p>
        </p:txBody>
      </p:sp>
      <p:pic>
        <p:nvPicPr>
          <p:cNvPr id="19" name="Picture 2" descr="C:\Documents and Settings\akushnikov\Local Settings\Temporary Internet Files\Content.IE5\K5U3K1UN\MCj04338830000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6101" y="898311"/>
            <a:ext cx="726329" cy="726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2" descr="C:\Documents and Settings\akushnikov\Local Settings\Temporary Internet Files\Content.IE5\K5U3K1UN\MCj04338830000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30617" y="4106753"/>
            <a:ext cx="726329" cy="726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 descr="C:\Documents and Settings\akushnikov\Local Settings\Temporary Internet Files\Content.IE5\K5U3K1UN\MCj04338830000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6942" y="3195853"/>
            <a:ext cx="726329" cy="726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Шестиугольник 22"/>
          <p:cNvSpPr/>
          <p:nvPr/>
        </p:nvSpPr>
        <p:spPr>
          <a:xfrm>
            <a:off x="7372837" y="877460"/>
            <a:ext cx="4703354" cy="1266131"/>
          </a:xfrm>
          <a:prstGeom prst="hexagon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b="1" dirty="0">
                <a:solidFill>
                  <a:srgbClr val="CC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CC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 НКО специалистов</a:t>
            </a:r>
            <a:r>
              <a:rPr lang="ru-RU" dirty="0"/>
              <a:t>, </a:t>
            </a:r>
            <a:r>
              <a:rPr lang="ru-RU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ладающих необходимыми управленческими и финансовыми компетенциями</a:t>
            </a:r>
            <a:endParaRPr lang="ru-RU" dirty="0"/>
          </a:p>
        </p:txBody>
      </p:sp>
      <p:sp>
        <p:nvSpPr>
          <p:cNvPr id="24" name="Шестиугольник 23"/>
          <p:cNvSpPr/>
          <p:nvPr/>
        </p:nvSpPr>
        <p:spPr>
          <a:xfrm>
            <a:off x="7372837" y="2211691"/>
            <a:ext cx="4703354" cy="1849040"/>
          </a:xfrm>
          <a:prstGeom prst="hexagon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b="1" dirty="0">
                <a:solidFill>
                  <a:srgbClr val="CC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 низкий</a:t>
            </a:r>
            <a:r>
              <a:rPr lang="ru-RU" dirty="0"/>
              <a:t>, </a:t>
            </a:r>
            <a:r>
              <a:rPr lang="ru-RU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 сравнению с государственными или коммерческими поставщиками, </a:t>
            </a:r>
            <a:r>
              <a:rPr lang="ru-RU" b="1" dirty="0">
                <a:solidFill>
                  <a:srgbClr val="CC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профессиональных навыков и методического обеспечения</a:t>
            </a:r>
          </a:p>
        </p:txBody>
      </p:sp>
      <p:sp>
        <p:nvSpPr>
          <p:cNvPr id="25" name="Шестиугольник 24"/>
          <p:cNvSpPr/>
          <p:nvPr/>
        </p:nvSpPr>
        <p:spPr>
          <a:xfrm>
            <a:off x="7372837" y="4374857"/>
            <a:ext cx="4703354" cy="2403438"/>
          </a:xfrm>
          <a:prstGeom prst="hexagon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b="1" dirty="0">
                <a:solidFill>
                  <a:srgbClr val="CC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ость</a:t>
            </a:r>
            <a:r>
              <a:rPr lang="ru-RU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собственной финансово-экономической базы НКО - как оборотных средств, так и средств для инвестирования в развитие материально-технической базы деятельности</a:t>
            </a:r>
          </a:p>
        </p:txBody>
      </p:sp>
      <p:sp>
        <p:nvSpPr>
          <p:cNvPr id="26" name="Шестиугольник 25"/>
          <p:cNvSpPr/>
          <p:nvPr/>
        </p:nvSpPr>
        <p:spPr>
          <a:xfrm>
            <a:off x="468374" y="5560673"/>
            <a:ext cx="3466317" cy="1207761"/>
          </a:xfrm>
          <a:prstGeom prst="hexagon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b="1" dirty="0">
                <a:solidFill>
                  <a:srgbClr val="CC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общенность </a:t>
            </a:r>
            <a:r>
              <a:rPr lang="ru-RU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 позволяет системно управлять инновациями</a:t>
            </a:r>
          </a:p>
        </p:txBody>
      </p:sp>
    </p:spTree>
    <p:extLst>
      <p:ext uri="{BB962C8B-B14F-4D97-AF65-F5344CB8AC3E}">
        <p14:creationId xmlns="" xmlns:p14="http://schemas.microsoft.com/office/powerpoint/2010/main" val="3966369295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661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Источники финансирования, наличие команды, инфраструктура и т.д.</a:t>
            </a:r>
            <a:endParaRPr lang="ru-RU" sz="1200" b="0" spc="0" dirty="0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298084"/>
            <a:ext cx="11252200" cy="5370571"/>
          </a:xfrm>
        </p:spPr>
        <p:txBody>
          <a:bodyPr/>
          <a:lstStyle/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Получено предварительное согласие на работу в проекте НКО-поставщиков социальных услуг из 3 регионов РФ;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) Создана организация – оператор, осуществляющая функции Ресурсного центра;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) Сформированы рабочие группы из практиков социального обслуживания по направлениям развития проекта;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) Развернута облачная площадка для обмена информацией в рамках проекта;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) Организовано взаимодействие с Министерством социальной политики Свердловской области;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ая кампания, развитие и региональная адаптация средств автоматизации будут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оить порядка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млн. руб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dirty="0"/>
              <a:t>Ресурсное обеспечение проекта</a:t>
            </a:r>
          </a:p>
        </p:txBody>
      </p:sp>
    </p:spTree>
    <p:extLst>
      <p:ext uri="{BB962C8B-B14F-4D97-AF65-F5344CB8AC3E}">
        <p14:creationId xmlns="" xmlns:p14="http://schemas.microsoft.com/office/powerpoint/2010/main" val="2359627485"/>
      </p:ext>
    </p:extLst>
  </p:cSld>
  <p:clrMapOvr>
    <a:masterClrMapping/>
  </p:clrMapOvr>
  <p:transition spd="slow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84666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kern="1200" spc="0" dirty="0">
                <a:solidFill>
                  <a:schemeClr val="dk1"/>
                </a:solidFill>
              </a:rPr>
              <a:t>Перечень ключевых риск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694" y="1196339"/>
            <a:ext cx="11525505" cy="5128261"/>
          </a:xfrm>
        </p:spPr>
        <p:txBody>
          <a:bodyPr/>
          <a:lstStyle/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втомизация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рофессионального сообщества, неготовность к системному комплексному взаимодействию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) Изменение акцентов федеральной государственной политики в сфере развития рынка социальных услуг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) Противодействие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вых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рганов власти, уполномоченных в сфере социального обслуживания, «импортированию» проекта из другого региона </a:t>
            </a:r>
          </a:p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Риски </a:t>
            </a:r>
          </a:p>
        </p:txBody>
      </p:sp>
    </p:spTree>
    <p:extLst>
      <p:ext uri="{BB962C8B-B14F-4D97-AF65-F5344CB8AC3E}">
        <p14:creationId xmlns="" xmlns:p14="http://schemas.microsoft.com/office/powerpoint/2010/main" val="2163887123"/>
      </p:ext>
    </p:extLst>
  </p:cSld>
  <p:clrMapOvr>
    <a:masterClrMapping/>
  </p:clrMapOvr>
  <p:transition spd="slow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91841"/>
            <a:ext cx="11252138" cy="166199"/>
          </a:xfrm>
        </p:spPr>
        <p:txBody>
          <a:bodyPr/>
          <a:lstStyle/>
          <a:p>
            <a:pPr algn="ctr"/>
            <a:r>
              <a:rPr lang="ru-RU" sz="1200" b="0" spc="0" dirty="0"/>
              <a:t>По срокам, по стоимости, по технологиям, по безопасности, по географии и т.д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граничения отсутствуют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3600" dirty="0"/>
              <a:t>Ограничения  </a:t>
            </a:r>
          </a:p>
        </p:txBody>
      </p:sp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0"/>
            <a:ext cx="992304" cy="95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15881893"/>
      </p:ext>
    </p:extLst>
  </p:cSld>
  <p:clrMapOvr>
    <a:masterClrMapping/>
  </p:clrMapOvr>
  <p:transition spd="slow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17974"/>
            <a:ext cx="11252138" cy="332399"/>
          </a:xfrm>
        </p:spPr>
        <p:txBody>
          <a:bodyPr/>
          <a:lstStyle/>
          <a:p>
            <a:pPr algn="ctr"/>
            <a:r>
              <a:rPr lang="ru-RU" sz="1200" b="0" kern="1200" spc="0" dirty="0">
                <a:solidFill>
                  <a:schemeClr val="dk1"/>
                </a:solidFill>
              </a:rPr>
              <a:t>Какой рынок создает, развивает реализация проекта? Какой эффект даст реализация проекта вне системы заявителя, а не внутри нее? 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r>
              <a:rPr lang="ru-RU" sz="1200" b="0" spc="0" dirty="0"/>
              <a:t>Изменение поведения людей или функционирования объектов и систем, к которому приводит использование результата проекта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248073"/>
            <a:ext cx="11252200" cy="4881833"/>
          </a:xfrm>
        </p:spPr>
        <p:txBody>
          <a:bodyPr/>
          <a:lstStyle/>
          <a:p>
            <a:pPr marL="0" indent="0" fontAlgn="base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илени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зиций негосударственных НКО на рынке социальных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.</a:t>
            </a:r>
          </a:p>
          <a:p>
            <a:pPr marL="0" indent="0" fontAlgn="base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ансформации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социального обслуживания от ситуационной социальной эффективности и процессного образа системы, «оказывающей невероятный объем услуг» к «формированию человек-ориентированной (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uman-centere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комфортной среды, позволяющей компенсировать имеющиеся ограничения и развивать персональные состояния человека, оптимизируя их»</a:t>
            </a:r>
            <a:endParaRPr lang="ru-RU" sz="20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pPr marL="0" indent="0" fontAlgn="base">
              <a:buNone/>
            </a:pP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Такое изменение опирается на:</a:t>
            </a:r>
          </a:p>
          <a:p>
            <a:pPr marL="0" indent="0" fontAlgn="base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1.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Становление конкуренции на рынке социальных услуг, совместное действие государственных и негосударственных некоммерческих структур, субъектов предпринимательской деятельности, развитие ГЧП в социальной сфере, государственное управление через стандарты и контроль;</a:t>
            </a:r>
          </a:p>
          <a:p>
            <a:pPr marL="0" indent="0" fontAlgn="base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2.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Развитие информационного общества и цифровизацию технологий. Это и аппаратный мониторинг состояния здоровья, и адаптированные сервисы доступа к благам, и оптимизация социальных ролей на базе информационных технологий, новое поколение решений и стандартов предоставления социальных услуг;</a:t>
            </a:r>
          </a:p>
          <a:p>
            <a:pPr marL="0" indent="0" fontAlgn="base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3.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Формирование научной и методической базы социальной работы, системы развития компетенций социальных работников;</a:t>
            </a:r>
          </a:p>
          <a:p>
            <a:pPr marL="0" indent="0" fontAlgn="base">
              <a:buNone/>
            </a:pP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4.</a:t>
            </a:r>
            <a:r>
              <a:rPr lang="ru-RU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Развитие сообщества профессионалов, поставщиков и получателей услуг, добровольцев с единой ценностной системой.</a:t>
            </a:r>
          </a:p>
          <a:p>
            <a:pPr marL="0" indent="0">
              <a:buNone/>
            </a:pPr>
            <a:endParaRPr lang="ru-RU" sz="18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729239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3600" dirty="0"/>
              <a:t>Эффекты от реализации проекта   </a:t>
            </a:r>
          </a:p>
        </p:txBody>
      </p:sp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7327" y="0"/>
            <a:ext cx="992304" cy="95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442567985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ую проблему решает проект ? В чем ее актуальность? Каков масштаб проблемы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7661" y="1350505"/>
            <a:ext cx="8229230" cy="5426015"/>
          </a:xfrm>
        </p:spPr>
        <p:txBody>
          <a:bodyPr/>
          <a:lstStyle/>
          <a:p>
            <a:pPr marL="85725" indent="0">
              <a:buNone/>
              <a:defRPr/>
            </a:pP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 качестве поставщиков государственных социальных услуг, действующих в условиях рынка, НКО – поставщики социальных услуг зачастую </a:t>
            </a:r>
            <a:r>
              <a:rPr lang="ru-RU" altLang="ru-RU" sz="19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игрывают государственным и коммерческим организациям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, поскольку:</a:t>
            </a:r>
          </a:p>
          <a:p>
            <a:pPr marL="85725" indent="0">
              <a:spcBef>
                <a:spcPts val="600"/>
              </a:spcBef>
              <a:buNone/>
              <a:defRPr/>
            </a:pPr>
            <a:r>
              <a:rPr lang="ru-RU" altLang="ru-RU" sz="19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Обладают  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едостаточным 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 управленческим  и  методическим  потенциалом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;</a:t>
            </a:r>
          </a:p>
          <a:p>
            <a:pPr marL="85725" indent="0">
              <a:spcBef>
                <a:spcPts val="600"/>
              </a:spcBef>
              <a:buNone/>
              <a:defRPr/>
            </a:pPr>
            <a:r>
              <a:rPr lang="ru-RU" altLang="ru-RU" sz="19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Ограничены  в  ресурсах 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(в первую очередь в 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финансовых, материальных 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 кадровых);</a:t>
            </a:r>
          </a:p>
          <a:p>
            <a:pPr marL="85725" indent="0">
              <a:spcBef>
                <a:spcPts val="600"/>
              </a:spcBef>
              <a:buNone/>
              <a:defRPr/>
            </a:pPr>
            <a:r>
              <a:rPr lang="ru-RU" altLang="ru-RU" sz="19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.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Разобщены, в том числе не 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меют 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консолидированных механизмов 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ыработки и внедрения эффективных подходов </a:t>
            </a:r>
            <a:r>
              <a:rPr lang="ru-RU" altLang="ru-RU" sz="19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 инноваций в </a:t>
            </a:r>
            <a:r>
              <a:rPr lang="ru-RU" altLang="ru-RU" sz="19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рганизации социального обслуживания.</a:t>
            </a:r>
          </a:p>
          <a:p>
            <a:pPr marL="85725" indent="0">
              <a:spcBef>
                <a:spcPts val="0"/>
              </a:spcBef>
              <a:buNone/>
              <a:defRPr/>
            </a:pPr>
            <a:r>
              <a:rPr lang="ru-RU" altLang="ru-RU" sz="6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	</a:t>
            </a:r>
          </a:p>
          <a:p>
            <a:pPr marL="85725" indent="0">
              <a:buNone/>
              <a:defRPr/>
            </a:pPr>
            <a:r>
              <a:rPr lang="ru-RU" altLang="ru-RU" sz="1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 масса </a:t>
            </a:r>
            <a:r>
              <a:rPr lang="ru-RU" altLang="ru-RU" sz="1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КО имеют значительный опыт в сфере социального служения и пользуются доверием у социально незащищенных категорий населения, </a:t>
            </a:r>
            <a:r>
              <a:rPr lang="ru-RU" altLang="ru-RU" sz="1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сполагают перспективными прикладными наработками</a:t>
            </a:r>
            <a:endParaRPr lang="ru-RU" altLang="ru-RU" sz="1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725" indent="0">
              <a:buNone/>
              <a:defRPr/>
            </a:pPr>
            <a:r>
              <a:rPr lang="ru-RU" alt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оявление таких НКО </a:t>
            </a:r>
            <a:r>
              <a:rPr lang="ru-RU" alt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а рынке социальных услуг востребовано, на что в том числе указал 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резидент </a:t>
            </a:r>
            <a:r>
              <a:rPr lang="ru-RU" sz="18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России В.В. Путин в посланиях Федеральному Собранию 2015 и 2016 </a:t>
            </a:r>
            <a:r>
              <a:rPr 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годов.</a:t>
            </a:r>
          </a:p>
          <a:p>
            <a:pPr marL="85725" indent="0">
              <a:buNone/>
              <a:defRPr/>
            </a:pPr>
            <a:r>
              <a:rPr lang="ru-RU" altLang="ru-RU" sz="18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Данная проблема актуальна на всей территории Российской Федерации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 smtClean="0"/>
              <a:t>       Проблема </a:t>
            </a:r>
            <a:endParaRPr lang="ru-RU" sz="3600" dirty="0"/>
          </a:p>
        </p:txBody>
      </p:sp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835762" cy="802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Скругленный прямоугольник 4"/>
          <p:cNvSpPr/>
          <p:nvPr/>
        </p:nvSpPr>
        <p:spPr>
          <a:xfrm>
            <a:off x="272602" y="1358724"/>
            <a:ext cx="3505059" cy="1771273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</a:t>
            </a:r>
            <a:r>
              <a:rPr 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000 НКО в России</a:t>
            </a:r>
            <a:r>
              <a:rPr lang="ru-RU" sz="2000" b="1" dirty="0" smtClean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торым </a:t>
            </a:r>
            <a:r>
              <a:rPr lang="ru-RU" sz="2000" b="1" dirty="0" smtClean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даны </a:t>
            </a:r>
            <a:r>
              <a:rPr lang="ru-RU" sz="2000" b="1" dirty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исполнение социальные услуги, предоставляемые за счет бюджета</a:t>
            </a:r>
          </a:p>
        </p:txBody>
      </p:sp>
      <p:sp>
        <p:nvSpPr>
          <p:cNvPr id="7" name="Скругленный прямоугольник 4"/>
          <p:cNvSpPr/>
          <p:nvPr/>
        </p:nvSpPr>
        <p:spPr>
          <a:xfrm>
            <a:off x="272601" y="3219851"/>
            <a:ext cx="3505059" cy="138909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altLang="ru-RU" sz="2000" b="1" dirty="0" smtClean="0">
              <a:solidFill>
                <a:srgbClr val="9437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</a:t>
            </a:r>
            <a:r>
              <a:rPr 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11 млрд. руб. в год </a:t>
            </a:r>
            <a:r>
              <a:rPr lang="ru-RU" sz="2000" b="1" dirty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х средств, передаваемых НКО</a:t>
            </a:r>
          </a:p>
          <a:p>
            <a:pPr algn="ctr">
              <a:defRPr/>
            </a:pPr>
            <a:endParaRPr lang="ru-RU" sz="2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4"/>
          <p:cNvSpPr/>
          <p:nvPr/>
        </p:nvSpPr>
        <p:spPr>
          <a:xfrm>
            <a:off x="6493164" y="240146"/>
            <a:ext cx="5513727" cy="100676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altLang="ru-RU" sz="2000" b="1" dirty="0" smtClean="0">
              <a:solidFill>
                <a:srgbClr val="9437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й объем отечественного рынка социальных услуг - около 19 000 000 </a:t>
            </a:r>
            <a:r>
              <a:rPr lang="ru-RU" alt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ателей социальных услуг в год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2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4"/>
          <p:cNvSpPr/>
          <p:nvPr/>
        </p:nvSpPr>
        <p:spPr>
          <a:xfrm>
            <a:off x="286459" y="4711523"/>
            <a:ext cx="3505059" cy="138909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altLang="ru-RU" sz="2000" b="1" dirty="0" smtClean="0">
              <a:solidFill>
                <a:srgbClr val="9437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</a:t>
            </a:r>
            <a:r>
              <a:rPr lang="ru-RU" sz="2000" b="1" dirty="0" smtClean="0">
                <a:solidFill>
                  <a:srgbClr val="9437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1 300 000 </a:t>
            </a:r>
            <a:r>
              <a:rPr lang="ru-RU" altLang="ru-RU" sz="2000" b="1" dirty="0" smtClean="0">
                <a:solidFill>
                  <a:srgbClr val="9437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ателей социальных услуг у НКО</a:t>
            </a:r>
            <a:endParaRPr lang="ru-RU" sz="2000" b="1" dirty="0">
              <a:solidFill>
                <a:srgbClr val="9437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2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27363703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ое желаемое состояние мы планируем достичь реализацией проекта? Проблема, переформулированная в позитивном ключе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5999" y="1125901"/>
            <a:ext cx="10583805" cy="5468430"/>
          </a:xfrm>
        </p:spPr>
        <p:txBody>
          <a:bodyPr/>
          <a:lstStyle/>
          <a:p>
            <a:pPr marL="0" indent="0">
              <a:buNone/>
            </a:pP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Основная цель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- это формирование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пециализированной благоприятной среды развития для НКО-поставщиков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ых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услуг,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озволяющей:</a:t>
            </a:r>
            <a:endParaRPr lang="en-US" sz="24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Компенсировать </a:t>
            </a: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лабые стороны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КО, </a:t>
            </a:r>
            <a:r>
              <a:rPr lang="ru-RU" alt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как субъектов рынка. Такое выравнивание позиций по отношению к государственным и коммерческим структурам возможно </a:t>
            </a:r>
            <a:r>
              <a:rPr lang="ru-RU" alt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за счет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ервисов ресурсного центра; </a:t>
            </a:r>
          </a:p>
          <a:p>
            <a:pPr marL="0" indent="0">
              <a:buNone/>
            </a:pPr>
            <a:r>
              <a:rPr lang="ru-RU" sz="2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охранять </a:t>
            </a: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и развивать уникальные преимущества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КО, как поставщиков социальных услуг, проводя системную политику развития сильных сторон, присущих организациям гражданского сектора</a:t>
            </a:r>
            <a:r>
              <a:rPr lang="ru-RU" sz="2400" dirty="0" smtClean="0">
                <a:solidFill>
                  <a:srgbClr val="222222"/>
                </a:solidFill>
                <a:latin typeface="Times New Roman" panose="02020603050405020304" pitchFamily="18" charset="0"/>
              </a:rPr>
              <a:t>;</a:t>
            </a:r>
          </a:p>
          <a:p>
            <a:pPr marL="0" indent="0">
              <a:buNone/>
            </a:pP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Развивать отрасль социального обслуживания в новом понимании - как </a:t>
            </a: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деятельность по формированию человек-ориентированной комфортной среды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, позволяющей каждому члену общества, нуждающемуся в помощи, компенсировать имеющиеся ограничения и развивать персональные состояния, оптимизируя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их. Последнее позволит повысить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качество социальных услуг, предоставляемых гражданам, а также эффективность социального обслуживания, как его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пособность </a:t>
            </a:r>
            <a:r>
              <a:rPr lang="ru-RU" sz="240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решать трудные жизненные ситуации конкретных </a:t>
            </a:r>
            <a:r>
              <a:rPr lang="ru-RU" sz="2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людей</a:t>
            </a:r>
            <a:endParaRPr lang="ru-RU" sz="2400" dirty="0">
              <a:solidFill>
                <a:srgbClr val="222222"/>
              </a:solidFill>
              <a:latin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6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/>
              <a:t>Цель проекта </a:t>
            </a:r>
          </a:p>
        </p:txBody>
      </p:sp>
      <p:sp>
        <p:nvSpPr>
          <p:cNvPr id="5" name="Овал 4"/>
          <p:cNvSpPr/>
          <p:nvPr/>
        </p:nvSpPr>
        <p:spPr>
          <a:xfrm>
            <a:off x="468375" y="2087881"/>
            <a:ext cx="32004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anose="02020603050405020304" pitchFamily="18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472994" y="3154676"/>
            <a:ext cx="32004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anose="02020603050405020304" pitchFamily="18" charset="0"/>
            </a:endParaRPr>
          </a:p>
        </p:txBody>
      </p:sp>
      <p:pic>
        <p:nvPicPr>
          <p:cNvPr id="7" name="Picture 2" descr="C:\Documents and Settings\akushnikov\Local Settings\Temporary Internet Files\Content.IE5\K5U3K1UN\MCj04338830000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13" y="931994"/>
            <a:ext cx="940764" cy="940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Овал 9"/>
          <p:cNvSpPr/>
          <p:nvPr/>
        </p:nvSpPr>
        <p:spPr>
          <a:xfrm>
            <a:off x="477612" y="4193770"/>
            <a:ext cx="320040" cy="2743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52667613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pic>
        <p:nvPicPr>
          <p:cNvPr id="1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309" y="388626"/>
            <a:ext cx="11392709" cy="1125436"/>
          </a:xfrm>
        </p:spPr>
        <p:txBody>
          <a:bodyPr/>
          <a:lstStyle/>
          <a:p>
            <a:r>
              <a:rPr lang="ru-RU" sz="3600" dirty="0" smtClean="0"/>
              <a:t>     Суть проекта</a:t>
            </a:r>
            <a:endParaRPr lang="ru-RU" sz="1800" b="1" dirty="0">
              <a:solidFill>
                <a:srgbClr val="0C3F8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</a:endParaRPr>
          </a:p>
          <a:p>
            <a:endParaRPr lang="ru-RU" sz="3600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073" y="295564"/>
            <a:ext cx="8362933" cy="6465445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385251" y="1304749"/>
            <a:ext cx="320769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пециализированная среда </a:t>
            </a:r>
            <a:r>
              <a:rPr lang="ru-RU" sz="2400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для развития </a:t>
            </a:r>
            <a:r>
              <a:rPr lang="ru-RU" sz="24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НКО</a:t>
            </a:r>
            <a:r>
              <a:rPr lang="ru-RU" sz="2400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-поставщиков социальных услуг</a:t>
            </a:r>
          </a:p>
          <a:p>
            <a:endParaRPr lang="ru-RU" sz="2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Содержимое 1"/>
          <p:cNvSpPr txBox="1">
            <a:spLocks/>
          </p:cNvSpPr>
          <p:nvPr/>
        </p:nvSpPr>
        <p:spPr>
          <a:xfrm>
            <a:off x="25978" y="3335471"/>
            <a:ext cx="3622387" cy="3462482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>
              <a:buFont typeface="Wingdings 3" pitchFamily="18" charset="2"/>
              <a:buNone/>
              <a:defRPr/>
            </a:pPr>
            <a:endParaRPr lang="ru-RU" altLang="ru-RU" sz="600" b="1" dirty="0" smtClean="0">
              <a:latin typeface="Lucida Sans Unicode" pitchFamily="34" charset="0"/>
            </a:endParaRPr>
          </a:p>
          <a:p>
            <a:pPr marL="85725" indent="0" algn="ctr">
              <a:buFont typeface="Wingdings 3" pitchFamily="18" charset="2"/>
              <a:buNone/>
              <a:defRPr/>
            </a:pPr>
            <a:r>
              <a:rPr lang="ru-RU" alt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7 направлений</a:t>
            </a:r>
            <a:endParaRPr lang="ru-RU" altLang="ru-RU" sz="2000" b="1" dirty="0" smtClean="0">
              <a:solidFill>
                <a:schemeClr val="accent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725" indent="0" algn="ctr">
              <a:buFont typeface="Arial" charset="0"/>
              <a:buNone/>
              <a:defRPr/>
            </a:pPr>
            <a:r>
              <a:rPr lang="ru-RU" altLang="ru-RU" sz="2000" b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000" b="1" i="1" dirty="0">
                <a:solidFill>
                  <a:srgbClr val="0C3F8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000" b="1" i="1" dirty="0" smtClean="0">
                <a:solidFill>
                  <a:srgbClr val="0C3F8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и и развития НКО на рынке социальных услуг, совершенствования системы социального обслуживания в целом</a:t>
            </a:r>
            <a:endParaRPr lang="ru-RU" altLang="ru-RU" sz="2000" b="1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725" indent="0" algn="ctr">
              <a:buFont typeface="Wingdings 3" pitchFamily="18" charset="2"/>
              <a:buNone/>
              <a:defRPr/>
            </a:pPr>
            <a:endParaRPr lang="ru-RU" altLang="ru-RU" sz="2400" dirty="0" smtClean="0">
              <a:latin typeface="Lucida Sans Unicode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477594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pic>
        <p:nvPicPr>
          <p:cNvPr id="1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309" y="388626"/>
            <a:ext cx="11392709" cy="1125436"/>
          </a:xfrm>
        </p:spPr>
        <p:txBody>
          <a:bodyPr/>
          <a:lstStyle/>
          <a:p>
            <a:r>
              <a:rPr lang="ru-RU" sz="3600" dirty="0" smtClean="0"/>
              <a:t>     Суть проекта</a:t>
            </a:r>
            <a:endParaRPr lang="ru-RU" sz="1800" b="1" dirty="0">
              <a:solidFill>
                <a:srgbClr val="0C3F8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</a:endParaRPr>
          </a:p>
          <a:p>
            <a:endParaRPr lang="ru-RU" sz="36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509" y="492620"/>
            <a:ext cx="8303491" cy="5792951"/>
          </a:xfrm>
          <a:prstGeom prst="rect">
            <a:avLst/>
          </a:prstGeom>
        </p:spPr>
      </p:pic>
      <p:graphicFrame>
        <p:nvGraphicFramePr>
          <p:cNvPr id="9" name="Group 6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7243802"/>
              </p:ext>
            </p:extLst>
          </p:nvPr>
        </p:nvGraphicFramePr>
        <p:xfrm>
          <a:off x="362311" y="1618056"/>
          <a:ext cx="3295290" cy="3947160"/>
        </p:xfrm>
        <a:graphic>
          <a:graphicData uri="http://schemas.openxmlformats.org/drawingml/2006/table">
            <a:tbl>
              <a:tblPr/>
              <a:tblGrid>
                <a:gridCol w="32952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674380">
                <a:tc>
                  <a:txBody>
                    <a:bodyPr/>
                    <a:lstStyle>
                      <a:lvl1pPr>
                        <a:spcBef>
                          <a:spcPts val="400"/>
                        </a:spcBef>
                        <a:buClr>
                          <a:schemeClr val="accent1"/>
                        </a:buClr>
                        <a:buSzPct val="68000"/>
                        <a:buFont typeface="Wingdings 3" panose="05040102010807070707" pitchFamily="18" charset="2"/>
                        <a:defRPr sz="23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1pPr>
                      <a:lvl2pPr>
                        <a:spcBef>
                          <a:spcPts val="325"/>
                        </a:spcBef>
                        <a:buClr>
                          <a:schemeClr val="accent1"/>
                        </a:buClr>
                        <a:buFont typeface="Verdana" panose="020B0604030504040204" pitchFamily="34" charset="0"/>
                        <a:defRPr sz="21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2pPr>
                      <a:lvl3pPr>
                        <a:spcBef>
                          <a:spcPts val="350"/>
                        </a:spcBef>
                        <a:buClr>
                          <a:schemeClr val="accent2"/>
                        </a:buClr>
                        <a:buSzPct val="100000"/>
                        <a:buFont typeface="Wingdings 2" panose="05020102010507070707" pitchFamily="18" charset="2"/>
                        <a:defRPr sz="19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3pPr>
                      <a:lvl4pPr>
                        <a:spcBef>
                          <a:spcPts val="350"/>
                        </a:spcBef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7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4pPr>
                      <a:lvl5pPr>
                        <a:spcBef>
                          <a:spcPts val="350"/>
                        </a:spcBef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5pPr>
                      <a:lvl6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6pPr>
                      <a:lvl7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7pPr>
                      <a:lvl8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8pPr>
                      <a:lvl9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Данный комплекс сервисов ориентирован на НКО, но на практике востребован и у субъектов малого предпринимательства - мелких коммерческих организаций, работающих в сфере социального обслуживания</a:t>
                      </a:r>
                      <a:endParaRPr kumimoji="0" lang="ru-RU" altLang="ru-RU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97553468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pic>
        <p:nvPicPr>
          <p:cNvPr id="15" name="Рисунок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309" y="388626"/>
            <a:ext cx="11392709" cy="1125436"/>
          </a:xfrm>
        </p:spPr>
        <p:txBody>
          <a:bodyPr/>
          <a:lstStyle/>
          <a:p>
            <a:r>
              <a:rPr lang="ru-RU" sz="3600" dirty="0" smtClean="0"/>
              <a:t>     Суть проекта</a:t>
            </a:r>
            <a:endParaRPr lang="ru-RU" sz="1800" b="1" dirty="0">
              <a:solidFill>
                <a:srgbClr val="0C3F86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</a:endParaRPr>
          </a:p>
          <a:p>
            <a:endParaRPr lang="ru-RU" sz="3600" dirty="0"/>
          </a:p>
        </p:txBody>
      </p:sp>
      <p:graphicFrame>
        <p:nvGraphicFramePr>
          <p:cNvPr id="9" name="Group 6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683620567"/>
              </p:ext>
            </p:extLst>
          </p:nvPr>
        </p:nvGraphicFramePr>
        <p:xfrm>
          <a:off x="272601" y="1368679"/>
          <a:ext cx="2950889" cy="5273040"/>
        </p:xfrm>
        <a:graphic>
          <a:graphicData uri="http://schemas.openxmlformats.org/drawingml/2006/table">
            <a:tbl>
              <a:tblPr/>
              <a:tblGrid>
                <a:gridCol w="29508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253794">
                <a:tc>
                  <a:txBody>
                    <a:bodyPr/>
                    <a:lstStyle>
                      <a:lvl1pPr>
                        <a:spcBef>
                          <a:spcPts val="400"/>
                        </a:spcBef>
                        <a:buClr>
                          <a:schemeClr val="accent1"/>
                        </a:buClr>
                        <a:buSzPct val="68000"/>
                        <a:buFont typeface="Wingdings 3" panose="05040102010807070707" pitchFamily="18" charset="2"/>
                        <a:defRPr sz="23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1pPr>
                      <a:lvl2pPr>
                        <a:spcBef>
                          <a:spcPts val="325"/>
                        </a:spcBef>
                        <a:buClr>
                          <a:schemeClr val="accent1"/>
                        </a:buClr>
                        <a:buFont typeface="Verdana" panose="020B0604030504040204" pitchFamily="34" charset="0"/>
                        <a:defRPr sz="21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2pPr>
                      <a:lvl3pPr>
                        <a:spcBef>
                          <a:spcPts val="350"/>
                        </a:spcBef>
                        <a:buClr>
                          <a:schemeClr val="accent2"/>
                        </a:buClr>
                        <a:buSzPct val="100000"/>
                        <a:buFont typeface="Wingdings 2" panose="05020102010507070707" pitchFamily="18" charset="2"/>
                        <a:defRPr sz="19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3pPr>
                      <a:lvl4pPr>
                        <a:spcBef>
                          <a:spcPts val="350"/>
                        </a:spcBef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7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4pPr>
                      <a:lvl5pPr>
                        <a:spcBef>
                          <a:spcPts val="350"/>
                        </a:spcBef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5pPr>
                      <a:lvl6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6pPr>
                      <a:lvl7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7pPr>
                      <a:lvl8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8pPr>
                      <a:lvl9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Исходя из нашего видения будущего системы социального обслуживания, организованы разработка и внедрение программно-аппаратных комплексов «Планшет социального работника» на основе программного обеспечения «ПК СОН. КРОН «Социальное обслуживание граждан в негосударственных организациях»</a:t>
                      </a:r>
                      <a:endParaRPr kumimoji="0" lang="ru-RU" altLang="ru-RU" sz="2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673076" y="388626"/>
            <a:ext cx="64105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Управление </a:t>
            </a:r>
            <a:r>
              <a:rPr 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технологическими процессами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предоставления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оциальных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услуг (в </a:t>
            </a:r>
            <a:r>
              <a:rPr lang="ru-RU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т.ч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. автоматизация)</a:t>
            </a:r>
          </a:p>
        </p:txBody>
      </p:sp>
      <p:pic>
        <p:nvPicPr>
          <p:cNvPr id="8" name="Picture 2" descr="http://office-nko.ru/wp-content/uploads/2020/08/PK-SON.KRON-Socialnoe-obsluzhivanie-grazhdan-v-negosudarstvennyh-organizaciyah-kopiya-e1597657820987-2048x74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855" y="5702227"/>
            <a:ext cx="4061127" cy="10987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315855" y="1100967"/>
            <a:ext cx="8793017" cy="460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1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Образ </a:t>
            </a:r>
            <a:r>
              <a:rPr lang="ru-RU" sz="21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будущего </a:t>
            </a: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я системы социального обслуживания мы связываем с трансформацией ее миссии от ситуационной социальной эффективности и процессного образа системы, «оказывающей невероятный объем услуг» к «формированию </a:t>
            </a:r>
            <a:r>
              <a:rPr lang="ru-RU" sz="2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-ориентированной </a:t>
            </a: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1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uman-centere</a:t>
            </a: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комфортной среды, позволяющей компенсировать имеющиеся ограничения и развивать персональные состояния человека, оптимизируя их».</a:t>
            </a:r>
          </a:p>
          <a:p>
            <a:pPr>
              <a:spcBef>
                <a:spcPts val="600"/>
              </a:spcBef>
            </a:pP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соответствия новой миссии должны изменяться:</a:t>
            </a:r>
          </a:p>
          <a:p>
            <a:pPr>
              <a:spcBef>
                <a:spcPts val="600"/>
              </a:spcBef>
            </a:pPr>
            <a:r>
              <a:rPr lang="ru-RU" sz="21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1. </a:t>
            </a: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особы организации деятельности поставщиков социальных услуг;</a:t>
            </a:r>
          </a:p>
          <a:p>
            <a:pPr>
              <a:spcBef>
                <a:spcPts val="600"/>
              </a:spcBef>
            </a:pPr>
            <a:r>
              <a:rPr lang="ru-RU" sz="21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2. </a:t>
            </a: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ые роли социальных работников;</a:t>
            </a:r>
          </a:p>
          <a:p>
            <a:pPr>
              <a:spcBef>
                <a:spcPts val="600"/>
              </a:spcBef>
            </a:pPr>
            <a:r>
              <a:rPr lang="ru-RU" sz="21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3. </a:t>
            </a:r>
            <a:r>
              <a:rPr lang="ru-RU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даптированная среда для получателя социальных услуг, как набор сервисов, через которые человек комфортно и безопасно взаимодействует с окружающим миром, реализует и развивает свой </a:t>
            </a:r>
            <a:r>
              <a:rPr lang="ru-RU" sz="2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тенциал</a:t>
            </a:r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51659064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6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96455455"/>
              </p:ext>
            </p:extLst>
          </p:nvPr>
        </p:nvGraphicFramePr>
        <p:xfrm>
          <a:off x="362311" y="1368679"/>
          <a:ext cx="2778053" cy="4663440"/>
        </p:xfrm>
        <a:graphic>
          <a:graphicData uri="http://schemas.openxmlformats.org/drawingml/2006/table">
            <a:tbl>
              <a:tblPr/>
              <a:tblGrid>
                <a:gridCol w="27780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674380">
                <a:tc>
                  <a:txBody>
                    <a:bodyPr/>
                    <a:lstStyle>
                      <a:lvl1pPr>
                        <a:spcBef>
                          <a:spcPts val="400"/>
                        </a:spcBef>
                        <a:buClr>
                          <a:schemeClr val="accent1"/>
                        </a:buClr>
                        <a:buSzPct val="68000"/>
                        <a:buFont typeface="Wingdings 3" panose="05040102010807070707" pitchFamily="18" charset="2"/>
                        <a:defRPr sz="23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1pPr>
                      <a:lvl2pPr>
                        <a:spcBef>
                          <a:spcPts val="325"/>
                        </a:spcBef>
                        <a:buClr>
                          <a:schemeClr val="accent1"/>
                        </a:buClr>
                        <a:buFont typeface="Verdana" panose="020B0604030504040204" pitchFamily="34" charset="0"/>
                        <a:defRPr sz="21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2pPr>
                      <a:lvl3pPr>
                        <a:spcBef>
                          <a:spcPts val="350"/>
                        </a:spcBef>
                        <a:buClr>
                          <a:schemeClr val="accent2"/>
                        </a:buClr>
                        <a:buSzPct val="100000"/>
                        <a:buFont typeface="Wingdings 2" panose="05020102010507070707" pitchFamily="18" charset="2"/>
                        <a:defRPr sz="19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3pPr>
                      <a:lvl4pPr>
                        <a:spcBef>
                          <a:spcPts val="350"/>
                        </a:spcBef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7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4pPr>
                      <a:lvl5pPr>
                        <a:spcBef>
                          <a:spcPts val="350"/>
                        </a:spcBef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5pPr>
                      <a:lvl6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6pPr>
                      <a:lvl7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7pPr>
                      <a:lvl8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8pPr>
                      <a:lvl9pPr fontAlgn="base"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Font typeface="Wingdings 2" panose="05020102010507070707" pitchFamily="18" charset="2"/>
                        <a:defRPr sz="1600">
                          <a:solidFill>
                            <a:schemeClr val="tx1"/>
                          </a:solidFill>
                          <a:latin typeface="Lucida Sans Unicode" panose="020B0602030504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Разрабатываемые решения в сфере прикладной автоматизации деятельности по предоставлению социальных услуг </a:t>
                      </a:r>
                      <a:endParaRPr kumimoji="0" lang="en-US" alt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предназначены для НКО, но по своему функционалу универсальны и могут применяться любыми поставщиками социальных услуг</a:t>
                      </a: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Picture 2" descr="http://office-nko.ru/wp-content/uploads/2020/08/PK-SON.KRON-Socialnoe-obsluzhivanie-grazhdan-v-negosudarstvennyh-organizaciyah-kopiya-e1597657820987-2048x74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898" y="401652"/>
            <a:ext cx="5526040" cy="14098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037777" y="365378"/>
            <a:ext cx="512512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Управление </a:t>
            </a:r>
            <a:r>
              <a:rPr 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технологическими процессами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предоставления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оциальных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услуг (в </a:t>
            </a:r>
            <a:r>
              <a:rPr lang="ru-RU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т.ч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. автоматизация)</a:t>
            </a:r>
          </a:p>
        </p:txBody>
      </p:sp>
      <p:pic>
        <p:nvPicPr>
          <p:cNvPr id="1905666" name="Picture 2" descr="http://office-nko.ru/wp-content/uploads/2020/08/kron-web-tech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453" y="1515771"/>
            <a:ext cx="1743075" cy="1743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5668" name="Picture 4" descr="http://office-nko.ru/wp-content/uploads/2020/08/offic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094" y="2936192"/>
            <a:ext cx="1743075" cy="1743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5670" name="Picture 6" descr="http://office-nko.ru/wp-content/uploads/2020/08/track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1314" y="4350940"/>
            <a:ext cx="1743075" cy="1743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5672" name="Picture 8" descr="http://office-nko.ru/wp-content/uploads/2020/08/shop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720" y="5222478"/>
            <a:ext cx="1743075" cy="1743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Содержимое 1"/>
          <p:cNvSpPr>
            <a:spLocks/>
          </p:cNvSpPr>
          <p:nvPr/>
        </p:nvSpPr>
        <p:spPr bwMode="auto">
          <a:xfrm>
            <a:off x="4677115" y="1708524"/>
            <a:ext cx="4959045" cy="1015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defRPr/>
            </a:pPr>
            <a:endParaRPr lang="ru-RU" sz="600" b="1" dirty="0">
              <a:latin typeface="Lucida Sans Unicode" pitchFamily="34" charset="0"/>
            </a:endParaRPr>
          </a:p>
          <a:p>
            <a:pPr marL="85725">
              <a:defRPr/>
            </a:pPr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Технологии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го обслуживания граждан в негосударственных 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рганизациях (процедуры от заключения договора с клиентом  до сдачи отчетности в госорган)</a:t>
            </a:r>
            <a:endParaRPr lang="ru-RU" b="1" i="1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1" name="Содержимое 1"/>
          <p:cNvSpPr>
            <a:spLocks/>
          </p:cNvSpPr>
          <p:nvPr/>
        </p:nvSpPr>
        <p:spPr bwMode="auto">
          <a:xfrm>
            <a:off x="4678937" y="3119087"/>
            <a:ext cx="4548190" cy="835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defRPr/>
            </a:pPr>
            <a:endParaRPr lang="ru-RU" sz="600" b="1" dirty="0">
              <a:latin typeface="Lucida Sans Unicode" pitchFamily="34" charset="0"/>
            </a:endParaRPr>
          </a:p>
          <a:p>
            <a:pPr marL="85725">
              <a:defRPr/>
            </a:pPr>
            <a:r>
              <a:rPr lang="ru-RU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М</a:t>
            </a:r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обильный офис 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го работника (учет и действия непосредственно по месту оказания услуг)</a:t>
            </a:r>
            <a:endParaRPr lang="ru-RU" b="1" i="1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3" name="Содержимое 1"/>
          <p:cNvSpPr>
            <a:spLocks/>
          </p:cNvSpPr>
          <p:nvPr/>
        </p:nvSpPr>
        <p:spPr bwMode="auto">
          <a:xfrm>
            <a:off x="4707437" y="4368445"/>
            <a:ext cx="4519690" cy="835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defRPr/>
            </a:pPr>
            <a:endParaRPr lang="ru-RU" sz="600" b="1" dirty="0">
              <a:latin typeface="Lucida Sans Unicode" pitchFamily="34" charset="0"/>
            </a:endParaRPr>
          </a:p>
          <a:p>
            <a:pPr marL="85725">
              <a:defRPr/>
            </a:pPr>
            <a:r>
              <a:rPr lang="ru-RU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Треккер</a:t>
            </a:r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го работника (организация, контроль и помощь в нештатных ситуациях)</a:t>
            </a:r>
            <a:endParaRPr lang="ru-RU" b="1" i="1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sp>
        <p:nvSpPr>
          <p:cNvPr id="14" name="Содержимое 1"/>
          <p:cNvSpPr>
            <a:spLocks/>
          </p:cNvSpPr>
          <p:nvPr/>
        </p:nvSpPr>
        <p:spPr bwMode="auto">
          <a:xfrm>
            <a:off x="6177325" y="5694019"/>
            <a:ext cx="4407548" cy="110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defRPr/>
            </a:pPr>
            <a:endParaRPr lang="ru-RU" sz="600" b="1" dirty="0">
              <a:latin typeface="Lucida Sans Unicode" pitchFamily="34" charset="0"/>
            </a:endParaRPr>
          </a:p>
          <a:p>
            <a:pPr marL="85725">
              <a:defRPr/>
            </a:pPr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ый </a:t>
            </a:r>
          </a:p>
          <a:p>
            <a:pPr marL="85725">
              <a:defRPr/>
            </a:pPr>
            <a:r>
              <a:rPr lang="ru-RU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магазин 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(безопасный доступ к товарам и услугам на льготных условиях)</a:t>
            </a:r>
            <a:endParaRPr lang="ru-RU" b="1" i="1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pic>
        <p:nvPicPr>
          <p:cNvPr id="1905674" name="Picture 10" descr="http://office-nko.ru/wp-content/uploads/2020/04/dostavka-pitaniya2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8668" y="2271371"/>
            <a:ext cx="1916021" cy="27460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15842" y="6218570"/>
            <a:ext cx="34323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http://office-nko.ru/son-kron/</a:t>
            </a:r>
          </a:p>
        </p:txBody>
      </p:sp>
      <p:pic>
        <p:nvPicPr>
          <p:cNvPr id="1905678" name="Picture 14" descr="http://office-nko.ru/wp-content/uploads/2019/12/6859_soc-tablets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7465" y="3443025"/>
            <a:ext cx="1762991" cy="11753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5676" name="Picture 12" descr="http://office-nko.ru/wp-content/uploads/2020/04/26199045-fcc0-4087-bbca-21e8033674f6-e1586599826168-777x437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8634" y="4411955"/>
            <a:ext cx="2989176" cy="16811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208708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1"/>
          <p:cNvSpPr>
            <a:spLocks/>
          </p:cNvSpPr>
          <p:nvPr/>
        </p:nvSpPr>
        <p:spPr bwMode="auto">
          <a:xfrm>
            <a:off x="353683" y="1621766"/>
            <a:ext cx="11671540" cy="5018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endParaRPr lang="ru-RU" sz="600" dirty="0">
              <a:latin typeface="Lucida Sans Unicode" pitchFamily="34" charset="0"/>
            </a:endParaRPr>
          </a:p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endParaRPr lang="ru-RU" sz="200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endParaRPr lang="ru-RU" sz="80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endParaRPr lang="ru-RU" sz="160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</p:txBody>
      </p:sp>
      <p:pic>
        <p:nvPicPr>
          <p:cNvPr id="8" name="Picture 2" descr="http://office-nko.ru/wp-content/uploads/2020/08/PK-SON.KRON-Socialnoe-obsluzhivanie-grazhdan-v-negosudarstvennyh-organizaciyah-kopiya-e1597657820987-2048x74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898" y="401652"/>
            <a:ext cx="5526040" cy="140989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602" y="125114"/>
            <a:ext cx="7651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1037777" y="365378"/>
            <a:ext cx="512512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Управление </a:t>
            </a:r>
            <a:r>
              <a:rPr 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технологическими процессами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предоставления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социальных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услуг (в </a:t>
            </a:r>
            <a:r>
              <a:rPr lang="ru-RU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т.ч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. автоматизация)</a:t>
            </a:r>
          </a:p>
        </p:txBody>
      </p:sp>
      <p:pic>
        <p:nvPicPr>
          <p:cNvPr id="11" name="Picture 4" descr="http://time56.ru/userfiles/news/large/20175_346_thumb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4631" y="1836368"/>
            <a:ext cx="1680859" cy="1288920"/>
          </a:xfrm>
          <a:prstGeom prst="rect">
            <a:avLst/>
          </a:prstGeom>
          <a:noFill/>
          <a:effectLst>
            <a:glow>
              <a:schemeClr val="accent1"/>
            </a:glow>
            <a:softEdge rad="63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Скругленный прямоугольник 10"/>
          <p:cNvGrpSpPr>
            <a:grpSpLocks/>
          </p:cNvGrpSpPr>
          <p:nvPr/>
        </p:nvGrpSpPr>
        <p:grpSpPr bwMode="auto">
          <a:xfrm rot="16200000">
            <a:off x="2126374" y="443937"/>
            <a:ext cx="707279" cy="2596305"/>
            <a:chOff x="265" y="1098"/>
            <a:chExt cx="4596" cy="2665"/>
          </a:xfrm>
        </p:grpSpPr>
        <p:pic>
          <p:nvPicPr>
            <p:cNvPr id="15" name="Скругленный прямоугольник 10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" y="1098"/>
              <a:ext cx="4596" cy="2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 Box 66"/>
            <p:cNvSpPr txBox="1">
              <a:spLocks noChangeArrowheads="1"/>
            </p:cNvSpPr>
            <p:nvPr/>
          </p:nvSpPr>
          <p:spPr bwMode="auto">
            <a:xfrm>
              <a:off x="440" y="1250"/>
              <a:ext cx="4250" cy="2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ru-RU" sz="2000" b="1" dirty="0" smtClean="0">
                  <a:solidFill>
                    <a:schemeClr val="bg1"/>
                  </a:solidFill>
                  <a:latin typeface="Times New Roman" panose="02020603050405020304" pitchFamily="18" charset="0"/>
                </a:rPr>
                <a:t>Для поставщиков социальных услуг</a:t>
              </a:r>
              <a:endParaRPr lang="ru-RU" altLang="ru-RU" sz="2000" b="1" dirty="0">
                <a:solidFill>
                  <a:schemeClr val="bg1"/>
                </a:solidFill>
                <a:latin typeface="Times New Roman" panose="02020603050405020304" pitchFamily="18" charset="0"/>
              </a:endParaRPr>
            </a:p>
          </p:txBody>
        </p:sp>
      </p:grpSp>
      <p:grpSp>
        <p:nvGrpSpPr>
          <p:cNvPr id="17" name="Скругленный прямоугольник 10"/>
          <p:cNvGrpSpPr>
            <a:grpSpLocks/>
          </p:cNvGrpSpPr>
          <p:nvPr/>
        </p:nvGrpSpPr>
        <p:grpSpPr bwMode="auto">
          <a:xfrm rot="16200000">
            <a:off x="7133966" y="1016435"/>
            <a:ext cx="707279" cy="2596305"/>
            <a:chOff x="265" y="1098"/>
            <a:chExt cx="4596" cy="2665"/>
          </a:xfrm>
        </p:grpSpPr>
        <p:pic>
          <p:nvPicPr>
            <p:cNvPr id="18" name="Скругленный прямоугольник 10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" y="1098"/>
              <a:ext cx="4596" cy="2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 Box 66"/>
            <p:cNvSpPr txBox="1">
              <a:spLocks noChangeArrowheads="1"/>
            </p:cNvSpPr>
            <p:nvPr/>
          </p:nvSpPr>
          <p:spPr bwMode="auto">
            <a:xfrm>
              <a:off x="440" y="1250"/>
              <a:ext cx="4250" cy="2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vert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ru-RU" sz="2000" b="1" dirty="0" smtClean="0">
                  <a:solidFill>
                    <a:schemeClr val="bg1"/>
                  </a:solidFill>
                  <a:latin typeface="Times New Roman" panose="02020603050405020304" pitchFamily="18" charset="0"/>
                </a:rPr>
                <a:t>Для получателей социальных услуг</a:t>
              </a:r>
              <a:endParaRPr lang="ru-RU" altLang="ru-RU" sz="2000" b="1" dirty="0">
                <a:solidFill>
                  <a:schemeClr val="bg1"/>
                </a:solidFill>
                <a:latin typeface="Times New Roman" panose="02020603050405020304" pitchFamily="18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452583" y="3426942"/>
            <a:ext cx="513541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1.</a:t>
            </a:r>
            <a:r>
              <a:rPr lang="ru-RU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Технологии</a:t>
            </a:r>
            <a:r>
              <a:rPr lang="ru-RU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циального обслуживания граждан в негосударственных организациях (процедуры от заключения договора с клиентом  до сдачи отчетности в госорган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)</a:t>
            </a:r>
            <a:endParaRPr lang="ru-RU" i="1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2.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ервис «Мобильный офис социального работника»</a:t>
            </a: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3.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ервис «Социальный </a:t>
            </a:r>
            <a:r>
              <a:rPr lang="ru-RU" b="1" i="1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трекер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»</a:t>
            </a: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4.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ервис «Социальный магазин»</a:t>
            </a: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5.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Мессенджеры для служебного взаимодейств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686900" y="3157556"/>
            <a:ext cx="6385027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1.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Сервис доступа к порталу </a:t>
            </a:r>
            <a:r>
              <a:rPr lang="ru-RU" b="1" i="1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гос.услуг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 консультативным 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сопровождением</a:t>
            </a:r>
            <a:endParaRPr lang="ru-RU" b="1" i="1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2.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озможность записываться на приёмы или предоставлять документы в электронном виде (к врачам, в пенсионный фонд, в многофункциональный центр и т.п.) онлайн, тем получателям, у которых отсутствует компьютер</a:t>
            </a: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3. 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озможность выбора и заказа товаров, в том числе лекарственных препаратов и услуг онлайн</a:t>
            </a: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4.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Возможность общения с родственниками и знакомыми </a:t>
            </a:r>
            <a:r>
              <a:rPr lang="ru-RU" b="1" i="1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посредством </a:t>
            </a:r>
            <a:r>
              <a:rPr lang="ru-RU" b="1" i="1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видеозвонков</a:t>
            </a:r>
            <a:endParaRPr lang="ru-RU" b="1" i="1" dirty="0">
              <a:effectLst>
                <a:outerShdw blurRad="38100" dist="38100" dir="2700000" algn="tl">
                  <a:srgbClr val="FFFFFF"/>
                </a:outerShdw>
              </a:effectLst>
              <a:latin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5.</a:t>
            </a:r>
            <a:r>
              <a:rPr lang="ru-RU" b="1" i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anose="02020603050405020304" pitchFamily="18" charset="0"/>
              </a:rPr>
              <a:t> Возможность получения видео консультации врачей – специалистов онлайн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15842" y="6384823"/>
            <a:ext cx="34323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http://office-nko.ru/son-kron/</a:t>
            </a:r>
          </a:p>
        </p:txBody>
      </p:sp>
      <p:pic>
        <p:nvPicPr>
          <p:cNvPr id="22" name="Picture 2" descr="http://office-nko.ru/wp-content/uploads/2020/08/mob-ofis-1-1024x50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83" y="2090251"/>
            <a:ext cx="3523797" cy="13111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http://office-nko.ru/wp-content/uploads/2020/04/dostavka-pitaniya2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101" y="1349557"/>
            <a:ext cx="1199210" cy="17187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809942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SWA7_wUtN.tTyrdQP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rVWiiXj3VfdDiAwYd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heme/theme1.xml><?xml version="1.0" encoding="utf-8"?>
<a:theme xmlns:a="http://schemas.openxmlformats.org/drawingml/2006/main" name="Office Theme">
  <a:themeElements>
    <a:clrScheme name="Починок_New">
      <a:dk1>
        <a:srgbClr val="1C1F26"/>
      </a:dk1>
      <a:lt1>
        <a:sysClr val="window" lastClr="FFFFFF"/>
      </a:lt1>
      <a:dk2>
        <a:srgbClr val="1C1F26"/>
      </a:dk2>
      <a:lt2>
        <a:srgbClr val="E7E6E6"/>
      </a:lt2>
      <a:accent1>
        <a:srgbClr val="D6AE7B"/>
      </a:accent1>
      <a:accent2>
        <a:srgbClr val="C8CBD2"/>
      </a:accent2>
      <a:accent3>
        <a:srgbClr val="AFBBC7"/>
      </a:accent3>
      <a:accent4>
        <a:srgbClr val="657181"/>
      </a:accent4>
      <a:accent5>
        <a:srgbClr val="40BBB1"/>
      </a:accent5>
      <a:accent6>
        <a:srgbClr val="3D9C23"/>
      </a:accent6>
      <a:hlink>
        <a:srgbClr val="00B0F0"/>
      </a:hlink>
      <a:folHlink>
        <a:srgbClr val="0070C0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0225</TotalTime>
  <Words>2038</Words>
  <Application>Microsoft Office PowerPoint</Application>
  <PresentationFormat>Произвольный</PresentationFormat>
  <Paragraphs>177</Paragraphs>
  <Slides>2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5" baseType="lpstr">
      <vt:lpstr>Office Theme</vt:lpstr>
      <vt:lpstr>Слайд think-cell</vt:lpstr>
      <vt:lpstr>Слайд 1</vt:lpstr>
      <vt:lpstr>Какую проблему решает проект ? В чем ее актуальность? Каков масштаб проблемы?</vt:lpstr>
      <vt:lpstr>Какую проблему решает проект ? В чем ее актуальность? Каков масштаб проблемы?</vt:lpstr>
      <vt:lpstr>Какое желаемое состояние мы планируем достичь реализацией проекта? Проблема, переформулированная в позитивном ключе.</vt:lpstr>
      <vt:lpstr>Краткое описание предлагаемого решения. </vt:lpstr>
      <vt:lpstr>Краткое описание предлагаемого решения. </vt:lpstr>
      <vt:lpstr>Краткое описание предлагаемого решения. </vt:lpstr>
      <vt:lpstr>Слайд 8</vt:lpstr>
      <vt:lpstr>Слайд 9</vt:lpstr>
      <vt:lpstr>Краткое описание предлагаемого решения. </vt:lpstr>
      <vt:lpstr>Слайд 11</vt:lpstr>
      <vt:lpstr>Краткое описание предлагаемого решения. </vt:lpstr>
      <vt:lpstr>На какие сегменты рынка ориентирован продукт/услуга?  (название, доля, динамика, тенденции развития, драйверы роста, потенциальные потребители)   Обоснование спроса на продукцию, с описанием целевых потребителей (клиентов) и ключевых факторов принятия ими решения.</vt:lpstr>
      <vt:lpstr>                     Какие материальные и нематериальные объекты, продукты и (или) услуги мы создадим в рамках проекта.                    Краткосрочные и долгосрочные ключевые результаты проекта, описание их взаимосвязи  результатов. Структурная декомпозиция результатов.  </vt:lpstr>
      <vt:lpstr>В чем наше уникальное предложение? Какие есть аналогичные решения? В чем их сильные и слабые стороны?  Почему/чем ваше решение лучше, чем решения конкурентов.</vt:lpstr>
      <vt:lpstr>Идея ⟶ Наличие прототипа/макета/опытного образца ⟶ Наличие экспертизы/поддержки/договоренностей/ресурсной базы ⟶  Реализованный пилот или локальное внедрение ⟶ Готовность передачи в производство или тиражирование.</vt:lpstr>
      <vt:lpstr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стейкхолдеры).</vt:lpstr>
      <vt:lpstr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стейкхолдеры).</vt:lpstr>
      <vt:lpstr>Основные этапы проекта, контрольные точки, ведущие к достижению промежуточных и конечных результатов.</vt:lpstr>
      <vt:lpstr>Источники финансирования, наличие команды, инфраструктура и т.д.</vt:lpstr>
      <vt:lpstr>Перечень ключевых рисков.</vt:lpstr>
      <vt:lpstr>По срокам, по стоимости, по технологиям, по безопасности, по географии и т.д.</vt:lpstr>
      <vt:lpstr>Какой рынок создает, развивает реализация проекта? Какой эффект даст реализация проекта вне системы заявителя, а не внутри нее?  Изменение поведения людей или функционирования объектов и систем, к которому приводит использование результата проекта?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1</cp:lastModifiedBy>
  <cp:revision>2482</cp:revision>
  <dcterms:created xsi:type="dcterms:W3CDTF">2015-08-29T06:24:16Z</dcterms:created>
  <dcterms:modified xsi:type="dcterms:W3CDTF">2020-10-05T10:17:31Z</dcterms:modified>
</cp:coreProperties>
</file>